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heme/theme2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9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29"/>
  </p:notesMasterIdLst>
  <p:sldIdLst>
    <p:sldId id="281" r:id="rId5"/>
    <p:sldId id="259" r:id="rId6"/>
    <p:sldId id="2076137349" r:id="rId7"/>
    <p:sldId id="2147475255" r:id="rId8"/>
    <p:sldId id="2147475254" r:id="rId9"/>
    <p:sldId id="262" r:id="rId10"/>
    <p:sldId id="342" r:id="rId11"/>
    <p:sldId id="2147475257" r:id="rId12"/>
    <p:sldId id="332" r:id="rId13"/>
    <p:sldId id="330" r:id="rId14"/>
    <p:sldId id="333" r:id="rId15"/>
    <p:sldId id="334" r:id="rId16"/>
    <p:sldId id="335" r:id="rId17"/>
    <p:sldId id="337" r:id="rId18"/>
    <p:sldId id="338" r:id="rId19"/>
    <p:sldId id="339" r:id="rId20"/>
    <p:sldId id="327" r:id="rId21"/>
    <p:sldId id="340" r:id="rId22"/>
    <p:sldId id="341" r:id="rId23"/>
    <p:sldId id="328" r:id="rId24"/>
    <p:sldId id="321" r:id="rId25"/>
    <p:sldId id="2147475258" r:id="rId26"/>
    <p:sldId id="2147475256" r:id="rId27"/>
    <p:sldId id="260" r:id="rId28"/>
  </p:sldIdLst>
  <p:sldSz cx="12192000" cy="6858000"/>
  <p:notesSz cx="6858000" cy="9144000"/>
  <p:custDataLst>
    <p:custData r:id="rId1"/>
    <p:custData r:id="rId3"/>
    <p:custData r:id="rId2"/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578" autoAdjust="0"/>
    <p:restoredTop sz="74658" autoAdjust="0"/>
  </p:normalViewPr>
  <p:slideViewPr>
    <p:cSldViewPr snapToGrid="0" showGuides="1">
      <p:cViewPr varScale="1">
        <p:scale>
          <a:sx n="89" d="100"/>
          <a:sy n="89" d="100"/>
        </p:scale>
        <p:origin x="984" y="1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8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8F1D1C-90D0-4F00-9BA3-077A17EF5B50}" type="datetimeFigureOut">
              <a:rPr lang="en-US"/>
              <a:t>2/20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7BCB16-00DD-4F07-8367-2CC6834612CA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2008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dirty="0"/>
              <a:t>Intro: Name and Professional Services</a:t>
            </a:r>
          </a:p>
          <a:p>
            <a:endParaRPr lang="en-DE" dirty="0"/>
          </a:p>
          <a:p>
            <a:r>
              <a:rPr lang="en-DE" dirty="0"/>
              <a:t>DevOps is not an “IF” anymore. </a:t>
            </a:r>
          </a:p>
          <a:p>
            <a:r>
              <a:rPr lang="en-DE" dirty="0"/>
              <a:t>Most Products comes with OOB capabilities for setting up DevOps.</a:t>
            </a:r>
          </a:p>
          <a:p>
            <a:r>
              <a:rPr lang="en-DE" dirty="0"/>
              <a:t>But the maturity &amp; complexity of DevOps framework depends on Organizations need.</a:t>
            </a:r>
          </a:p>
          <a:p>
            <a:endParaRPr lang="en-DE" dirty="0"/>
          </a:p>
          <a:p>
            <a:r>
              <a:rPr lang="en-DE" dirty="0"/>
              <a:t>webMethods. IO integration comes with api (and also cli), which I have used to show one of </a:t>
            </a:r>
            <a:r>
              <a:rPr lang="en-DE"/>
              <a:t>many Delivery workflow.</a:t>
            </a:r>
            <a:endParaRPr lang="en-DE" dirty="0"/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0744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919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4751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3741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4254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75469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23310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4716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DE" dirty="0"/>
              <a:t>Cleanup</a:t>
            </a:r>
          </a:p>
          <a:p>
            <a:pPr marL="228600" indent="-228600">
              <a:buAutoNum type="arabicPeriod"/>
            </a:pPr>
            <a:r>
              <a:rPr lang="en-DE" dirty="0"/>
              <a:t>Initialize</a:t>
            </a:r>
          </a:p>
          <a:p>
            <a:pPr marL="685800" lvl="1" indent="-228600">
              <a:buAutoNum type="arabicPeriod"/>
            </a:pPr>
            <a:r>
              <a:rPr lang="en-DE" dirty="0"/>
              <a:t>Show Structure</a:t>
            </a:r>
          </a:p>
          <a:p>
            <a:pPr marL="685800" lvl="1" indent="-228600">
              <a:buAutoNum type="arabicPeriod"/>
            </a:pPr>
            <a:r>
              <a:rPr lang="en-DE" dirty="0"/>
              <a:t>Talk about Git Workflow</a:t>
            </a:r>
          </a:p>
          <a:p>
            <a:pPr marL="228600" indent="-228600">
              <a:buAutoNum type="arabicPeriod"/>
            </a:pPr>
            <a:r>
              <a:rPr lang="en-DE" dirty="0"/>
              <a:t>Import/develop</a:t>
            </a:r>
          </a:p>
          <a:p>
            <a:pPr marL="685800" lvl="1" indent="-228600">
              <a:buAutoNum type="arabicPeriod"/>
            </a:pPr>
            <a:r>
              <a:rPr lang="en-DE" dirty="0"/>
              <a:t>WF</a:t>
            </a:r>
          </a:p>
          <a:p>
            <a:pPr marL="685800" lvl="1" indent="-228600">
              <a:buAutoNum type="arabicPeriod"/>
            </a:pPr>
            <a:r>
              <a:rPr lang="en-DE" dirty="0"/>
              <a:t>Flow</a:t>
            </a:r>
          </a:p>
          <a:p>
            <a:pPr marL="685800" lvl="1" indent="-228600">
              <a:buAutoNum type="arabicPeriod"/>
            </a:pPr>
            <a:r>
              <a:rPr lang="en-DE"/>
              <a:t>Ref</a:t>
            </a:r>
          </a:p>
          <a:p>
            <a:pPr marL="228600" indent="-228600">
              <a:buAutoNum type="arabicPeriod"/>
            </a:pPr>
            <a:r>
              <a:rPr lang="en-DE" dirty="0"/>
              <a:t>Accounts</a:t>
            </a:r>
          </a:p>
          <a:p>
            <a:pPr marL="228600" indent="-228600">
              <a:buAutoNum type="arabicPeriod"/>
            </a:pPr>
            <a:r>
              <a:rPr lang="en-DE" dirty="0"/>
              <a:t>Test</a:t>
            </a:r>
          </a:p>
          <a:p>
            <a:pPr marL="685800" lvl="1" indent="-228600">
              <a:buAutoNum type="arabicPeriod"/>
            </a:pPr>
            <a:r>
              <a:rPr lang="en-DE" dirty="0"/>
              <a:t>WorkflowID</a:t>
            </a:r>
          </a:p>
          <a:p>
            <a:pPr marL="685800" lvl="1" indent="-228600">
              <a:buAutoNum type="arabicPeriod"/>
            </a:pPr>
            <a:r>
              <a:rPr lang="en-DE" dirty="0"/>
              <a:t>Flowservice http flag</a:t>
            </a:r>
          </a:p>
          <a:p>
            <a:pPr marL="685800" lvl="1" indent="-228600">
              <a:buAutoNum type="arabicPeriod"/>
            </a:pPr>
            <a:r>
              <a:rPr lang="en-DE" dirty="0"/>
              <a:t>Mention and show (Tests could be triggered separately as well)</a:t>
            </a:r>
          </a:p>
          <a:p>
            <a:pPr marL="228600" lvl="0" indent="-228600">
              <a:buAutoNum type="arabicPeriod"/>
            </a:pPr>
            <a:r>
              <a:rPr lang="en-DE" dirty="0"/>
              <a:t>GitHub</a:t>
            </a:r>
          </a:p>
          <a:p>
            <a:pPr marL="685800" lvl="1" indent="-228600">
              <a:buAutoNum type="arabicPeriod"/>
            </a:pPr>
            <a:r>
              <a:rPr lang="en-DE" dirty="0"/>
              <a:t>Action</a:t>
            </a:r>
          </a:p>
          <a:p>
            <a:pPr marL="685800" lvl="1" indent="-228600">
              <a:buAutoNum type="arabicPeriod"/>
            </a:pPr>
            <a:r>
              <a:rPr lang="en-DE" dirty="0"/>
              <a:t>Key</a:t>
            </a:r>
          </a:p>
          <a:p>
            <a:pPr marL="228600" lvl="0" indent="-228600">
              <a:buAutoNum type="arabicPeriod"/>
            </a:pPr>
            <a:r>
              <a:rPr lang="en-DE" dirty="0"/>
              <a:t>SynchToFeature</a:t>
            </a:r>
          </a:p>
          <a:p>
            <a:pPr marL="228600" lvl="0" indent="-228600">
              <a:buAutoNum type="arabicPeriod"/>
            </a:pPr>
            <a:r>
              <a:rPr lang="en-DE" dirty="0"/>
              <a:t>Show Repo</a:t>
            </a:r>
          </a:p>
          <a:p>
            <a:pPr marL="685800" lvl="1" indent="-228600">
              <a:buAutoNum type="arabicPeriod"/>
            </a:pPr>
            <a:r>
              <a:rPr lang="en-DE" dirty="0"/>
              <a:t>Talk about structure</a:t>
            </a:r>
          </a:p>
          <a:p>
            <a:pPr marL="685800" lvl="1" indent="-228600">
              <a:buAutoNum type="arabicPeriod"/>
            </a:pPr>
            <a:r>
              <a:rPr lang="en-DE" dirty="0"/>
              <a:t>Reference Data/ config structure</a:t>
            </a:r>
          </a:p>
          <a:p>
            <a:pPr marL="685800" lvl="1" indent="-228600">
              <a:buAutoNum type="arabicPeriod"/>
            </a:pPr>
            <a:r>
              <a:rPr lang="en-DE" dirty="0"/>
              <a:t>Update DEV and QA configs</a:t>
            </a:r>
          </a:p>
          <a:p>
            <a:pPr marL="228600" lvl="0" indent="-228600">
              <a:buAutoNum type="arabicPeriod"/>
            </a:pPr>
            <a:r>
              <a:rPr lang="en-DE" dirty="0"/>
              <a:t>Show test results</a:t>
            </a:r>
          </a:p>
          <a:p>
            <a:pPr marL="228600" lvl="0" indent="-228600">
              <a:buAutoNum type="arabicPeriod"/>
            </a:pPr>
            <a:r>
              <a:rPr lang="en-DE" dirty="0"/>
              <a:t>Pull feature to DEV</a:t>
            </a:r>
          </a:p>
          <a:p>
            <a:pPr marL="685800" lvl="1" indent="-228600">
              <a:buAutoNum type="arabicPeriod"/>
            </a:pPr>
            <a:r>
              <a:rPr lang="en-DE" dirty="0"/>
              <a:t>Show the Dev Branch</a:t>
            </a:r>
          </a:p>
          <a:p>
            <a:pPr marL="685800" lvl="1" indent="-228600">
              <a:buAutoNum type="arabicPeriod"/>
            </a:pPr>
            <a:r>
              <a:rPr lang="en-DE" dirty="0"/>
              <a:t>Show Action/Workflow in Github</a:t>
            </a:r>
          </a:p>
          <a:p>
            <a:pPr marL="228600" lvl="0" indent="-228600">
              <a:buAutoNum type="arabicPeriod"/>
            </a:pPr>
            <a:r>
              <a:rPr lang="en-DE" dirty="0"/>
              <a:t>Show Azure </a:t>
            </a:r>
          </a:p>
          <a:p>
            <a:pPr marL="685800" lvl="1" indent="-228600">
              <a:buAutoNum type="arabicPeriod"/>
            </a:pPr>
            <a:r>
              <a:rPr lang="en-DE" dirty="0"/>
              <a:t>DEV triggered</a:t>
            </a:r>
          </a:p>
          <a:p>
            <a:pPr marL="685800" lvl="1" indent="-228600">
              <a:buAutoNum type="arabicPeriod"/>
            </a:pPr>
            <a:r>
              <a:rPr lang="en-DE" dirty="0"/>
              <a:t>Test results (falied)</a:t>
            </a:r>
          </a:p>
          <a:p>
            <a:pPr marL="228600" lvl="0" indent="-228600">
              <a:buAutoNum type="arabicPeriod"/>
            </a:pPr>
            <a:r>
              <a:rPr lang="en-DE" dirty="0"/>
              <a:t>Show DEV Tenant</a:t>
            </a:r>
          </a:p>
          <a:p>
            <a:pPr marL="685800" lvl="1" indent="-228600">
              <a:buAutoNum type="arabicPeriod"/>
            </a:pPr>
            <a:r>
              <a:rPr lang="en-DE" dirty="0"/>
              <a:t>Project</a:t>
            </a:r>
          </a:p>
          <a:p>
            <a:pPr marL="685800" lvl="1" indent="-228600">
              <a:buAutoNum type="arabicPeriod"/>
            </a:pPr>
            <a:r>
              <a:rPr lang="en-DE" dirty="0"/>
              <a:t>Workflow1</a:t>
            </a:r>
          </a:p>
          <a:p>
            <a:pPr marL="1143000" lvl="2" indent="-228600">
              <a:buAutoNum type="arabicPeriod"/>
            </a:pPr>
            <a:r>
              <a:rPr lang="en-DE" dirty="0"/>
              <a:t>Webhook, Subflow</a:t>
            </a:r>
          </a:p>
          <a:p>
            <a:pPr marL="685800" lvl="1" indent="-228600">
              <a:buAutoNum type="arabicPeriod"/>
            </a:pPr>
            <a:r>
              <a:rPr lang="en-DE" dirty="0"/>
              <a:t>Workflow 2</a:t>
            </a:r>
          </a:p>
          <a:p>
            <a:pPr marL="1143000" lvl="2" indent="-228600">
              <a:buAutoNum type="arabicPeriod"/>
            </a:pPr>
            <a:r>
              <a:rPr lang="en-DE" dirty="0"/>
              <a:t>Account not created</a:t>
            </a:r>
          </a:p>
          <a:p>
            <a:pPr marL="1143000" lvl="2" indent="-228600">
              <a:buAutoNum type="arabicPeriod"/>
            </a:pPr>
            <a:r>
              <a:rPr lang="en-DE" dirty="0"/>
              <a:t>No Trigger</a:t>
            </a:r>
          </a:p>
          <a:p>
            <a:pPr marL="685800" lvl="1" indent="-228600">
              <a:buAutoNum type="arabicPeriod"/>
            </a:pPr>
            <a:r>
              <a:rPr lang="en-DE" dirty="0"/>
              <a:t>FS</a:t>
            </a:r>
          </a:p>
          <a:p>
            <a:pPr marL="1143000" lvl="2" indent="-228600">
              <a:buAutoNum type="arabicPeriod"/>
            </a:pPr>
            <a:r>
              <a:rPr lang="en-DE" dirty="0"/>
              <a:t>Flag </a:t>
            </a:r>
          </a:p>
          <a:p>
            <a:pPr marL="685800" lvl="1" indent="-228600">
              <a:buAutoNum type="arabicPeriod"/>
            </a:pPr>
            <a:r>
              <a:rPr lang="en-DE" dirty="0"/>
              <a:t>Configs</a:t>
            </a:r>
          </a:p>
          <a:p>
            <a:pPr marL="1143000" lvl="2" indent="-228600">
              <a:buAutoNum type="arabicPeriod"/>
            </a:pPr>
            <a:r>
              <a:rPr lang="en-DE" dirty="0"/>
              <a:t>PP</a:t>
            </a:r>
          </a:p>
          <a:p>
            <a:pPr marL="1143000" lvl="2" indent="-228600">
              <a:buAutoNum type="arabicPeriod"/>
            </a:pPr>
            <a:r>
              <a:rPr lang="en-DE" dirty="0"/>
              <a:t>Ref Data</a:t>
            </a:r>
          </a:p>
          <a:p>
            <a:pPr marL="228600" lvl="0" indent="-228600">
              <a:buAutoNum type="arabicPeriod"/>
            </a:pPr>
            <a:r>
              <a:rPr lang="en-DE" dirty="0"/>
              <a:t>Update DEV Branch</a:t>
            </a:r>
          </a:p>
          <a:p>
            <a:pPr marL="685800" lvl="1" indent="-228600">
              <a:buAutoNum type="arabicPeriod"/>
            </a:pPr>
            <a:r>
              <a:rPr lang="en-DE" dirty="0"/>
              <a:t>Test:</a:t>
            </a:r>
          </a:p>
          <a:p>
            <a:pPr marL="1143000" lvl="2" indent="-228600">
              <a:buAutoNum type="arabicPeriod"/>
            </a:pPr>
            <a:r>
              <a:rPr lang="en-DE" dirty="0"/>
              <a:t>Repo workflow id</a:t>
            </a:r>
          </a:p>
          <a:p>
            <a:pPr marL="1143000" lvl="2" indent="-228600">
              <a:buAutoNum type="arabicPeriod"/>
            </a:pPr>
            <a:r>
              <a:rPr lang="en-DE" dirty="0"/>
              <a:t>Enable http</a:t>
            </a:r>
          </a:p>
          <a:p>
            <a:pPr marL="228600" lvl="0" indent="-228600">
              <a:buAutoNum type="arabicPeriod"/>
            </a:pPr>
            <a:r>
              <a:rPr lang="en-DE" dirty="0"/>
              <a:t>Rerun Manually DEV Test</a:t>
            </a:r>
          </a:p>
          <a:p>
            <a:pPr marL="685800" lvl="1" indent="-228600">
              <a:buAutoNum type="arabicPeriod"/>
            </a:pPr>
            <a:r>
              <a:rPr lang="en-DE" dirty="0"/>
              <a:t>Show Results</a:t>
            </a:r>
          </a:p>
          <a:p>
            <a:pPr marL="228600" lvl="0" indent="-228600">
              <a:buAutoNum type="arabicPeriod"/>
            </a:pPr>
            <a:r>
              <a:rPr lang="en-DE" dirty="0"/>
              <a:t>Pull feature to QA </a:t>
            </a:r>
          </a:p>
          <a:p>
            <a:pPr marL="228600" lvl="0" indent="-228600">
              <a:buAutoNum type="arabicPeriod"/>
            </a:pPr>
            <a:r>
              <a:rPr lang="en-DE" dirty="0"/>
              <a:t>Show tenant</a:t>
            </a:r>
          </a:p>
          <a:p>
            <a:pPr marL="685800" lvl="1" indent="-228600">
              <a:buAutoNum type="arabicPeriod"/>
            </a:pPr>
            <a:r>
              <a:rPr lang="en-DE" dirty="0"/>
              <a:t>Ref Data</a:t>
            </a:r>
          </a:p>
          <a:p>
            <a:pPr marL="228600" lvl="0" indent="-228600">
              <a:buAutoNum type="arabicPeriod"/>
            </a:pP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15054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50372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0489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049105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8155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450"/>
              </a:spcAft>
            </a:pPr>
            <a:br>
              <a:rPr lang="en-GB" dirty="0"/>
            </a:br>
            <a:r>
              <a:rPr lang="en-US" b="1" dirty="0"/>
              <a:t>webMethods.io iPaaS is the only integration platform-as-a-service that delivers all required capabilities. </a:t>
            </a:r>
            <a:r>
              <a:rPr lang="en-US" b="0" dirty="0"/>
              <a:t>The u</a:t>
            </a:r>
            <a:r>
              <a:rPr lang="en-US" sz="1200" b="0" dirty="0"/>
              <a:t>nique </a:t>
            </a:r>
            <a:r>
              <a:rPr lang="en-US" sz="1200" dirty="0"/>
              <a:t>combination of API management, hybrid integration, application integration, data integration, microservices and IoT integration in one platform.</a:t>
            </a:r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Market leader in API Management*</a:t>
            </a:r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300+ field tested connectors to accelerate implementation without coding</a:t>
            </a:r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The only platform empowering you to integrate anything—anywhere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y Points: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. Promotes accelerated integration for all types of users from technology professionals to empowered business analysts</a:t>
            </a:r>
          </a:p>
          <a:p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 Combines integration, API management, and B2B in the cloud and on premises; unified runtimes enable seamless integration</a:t>
            </a:r>
          </a:p>
          <a:p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. Delivers freedom to innovate with a standards-compliant independent platform</a:t>
            </a:r>
            <a:endParaRPr lang="en-GB" dirty="0"/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en-GB" dirty="0"/>
            </a:br>
            <a:endParaRPr lang="en-GB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BE8717-C7C3-44D8-90E9-AAA5AE1C5FA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4398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have a UI that developers fall in love with from the minute they start to use it due to its simplicity, ease of use, yet providing significant power!</a:t>
            </a: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1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/>
              <a:t>Reliable Hybrid Connectivity</a:t>
            </a:r>
            <a:r>
              <a:rPr lang="en-GB" sz="1200" dirty="0"/>
              <a:t>: Manage hybrid portfolios with applications or data which are located both on-premises and in the clou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233356"/>
                </a:solidFill>
              </a:rPr>
              <a:t>Extensive Connectivity Toolkit: </a:t>
            </a:r>
            <a:r>
              <a:rPr lang="en-GB" sz="1200" dirty="0"/>
              <a:t>Connectivity options for the most popular SaaS application and a workflow toolkit for every modern protocol or ne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/>
              <a:t>Broad Developer Support</a:t>
            </a:r>
            <a:r>
              <a:rPr lang="en-GB" sz="1200" dirty="0"/>
              <a:t>: </a:t>
            </a:r>
            <a:r>
              <a:rPr lang="en-US" sz="1200" dirty="0"/>
              <a:t>Democratize your integration projects across the organization. Reduce your integration backlog by building intuitive workflows, quick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233356"/>
                </a:solidFill>
              </a:rPr>
              <a:t>Optimized for Scale and Performance: </a:t>
            </a:r>
            <a:r>
              <a:rPr lang="en-US" sz="1200" dirty="0"/>
              <a:t>Performant service architecture ensures your most critical integration workflows run with confidence. With dependable monitoring and reporting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BE8717-C7C3-44D8-90E9-AAA5AE1C5FA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2395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GB" b="0" i="0" dirty="0">
                <a:solidFill>
                  <a:srgbClr val="282828"/>
                </a:solidFill>
                <a:effectLst/>
                <a:latin typeface="Inter"/>
              </a:rPr>
              <a:t>MTTR measures the maintainability of repairable features and sets the average time to repair a broken feature. Basically, it helps you track the amount of time spent to recover from a failure.</a:t>
            </a:r>
          </a:p>
          <a:p>
            <a:pPr algn="l"/>
            <a:r>
              <a:rPr lang="en-GB" b="0" i="0" dirty="0">
                <a:solidFill>
                  <a:srgbClr val="282828"/>
                </a:solidFill>
                <a:effectLst/>
                <a:latin typeface="Inter"/>
              </a:rPr>
              <a:t>CI/CD reduces the MTTR because the code changes are smaller and fault isolations are easier to detect. One of the most important business risk assurances is to keep failures to a minimum and quickly recover from any failures that do happen. Application monitoring tools are a great way to find and fix failures while also logging the problems to notice trends faster.</a:t>
            </a:r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0662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02755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43979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6679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BCB16-00DD-4F07-8367-2CC6834612C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1792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9.xml"/><Relationship Id="rId4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4.xml"/><Relationship Id="rId4" Type="http://schemas.openxmlformats.org/officeDocument/2006/relationships/tags" Target="../tags/tag8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6.xml"/><Relationship Id="rId4" Type="http://schemas.openxmlformats.org/officeDocument/2006/relationships/tags" Target="../tags/tag8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8.xml"/><Relationship Id="rId4" Type="http://schemas.openxmlformats.org/officeDocument/2006/relationships/tags" Target="../tags/tag8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0.xml"/><Relationship Id="rId4" Type="http://schemas.openxmlformats.org/officeDocument/2006/relationships/tags" Target="../tags/tag8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1.xml"/><Relationship Id="rId4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3.xml"/><Relationship Id="rId4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&#10;- Light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ED4F31-25E4-491D-B5E8-D66AEF3797B7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C7A522BD-4CB0-C14F-A17A-54A3924D19D2}" type="datetime1">
              <a:rPr lang="de-DE" smtClean="0"/>
              <a:t>20.02.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92C379-FC46-4B88-8A5A-70D16AE18E9C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950E2A-E921-4BE2-8188-B66ECC5E8F85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DED6B2D-8D4C-4F72-B420-0F0444CCD4F7}"/>
              </a:ext>
            </a:extLst>
          </p:cNvPr>
          <p:cNvGrpSpPr>
            <a:grpSpLocks noChangeAspect="1"/>
          </p:cNvGrpSpPr>
          <p:nvPr/>
        </p:nvGrpSpPr>
        <p:grpSpPr>
          <a:xfrm>
            <a:off x="8137200" y="5567400"/>
            <a:ext cx="1749600" cy="355275"/>
            <a:chOff x="10178400" y="6351918"/>
            <a:chExt cx="1652360" cy="335529"/>
          </a:xfrm>
        </p:grpSpPr>
        <p:sp>
          <p:nvSpPr>
            <p:cNvPr id="21" name="Date Placeholder 8">
              <a:extLst>
                <a:ext uri="{FF2B5EF4-FFF2-40B4-BE49-F238E27FC236}">
                  <a16:creationId xmlns:a16="http://schemas.microsoft.com/office/drawing/2014/main" id="{ADB98197-3672-4367-A773-C09C7BCC63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2/20/24</a:t>
              </a:fld>
              <a:endParaRPr lang="en-US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9EC8A25-6A9A-42F5-B840-4B6BDECE19A1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19704DC-2999-46BC-BFA3-F7F837D4EA6D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FDF47084-4805-4BE3-B2A6-C788C9C3608D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429340AB-D70C-4955-9553-87C131E6A496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DA55C9F2-69BD-42EA-B936-BA9205A6B9E6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63381DAD-E257-4C59-930B-161FCFF5574E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FF181E01-7375-4BD9-93C5-1EC3322C0EE6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2B203442-B466-4259-8ED9-9E88D4549593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AD9086DB-B137-4F10-872A-0B43BC3534B8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12A49C27-61F6-4404-AD2B-075142645330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9B2CE54B-0813-4850-9B17-8A4C6FC5D6A6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2779E56-031D-4707-88D0-9E9561817930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BFF7729-7133-4970-A896-8D9C036CC2FD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59825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D9214C-C739-4412-9AA2-D3541ABCCB1E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D54B44A8-1507-1B43-9E80-212D4B347049}" type="datetime1">
              <a:rPr lang="de-DE" smtClean="0"/>
              <a:t>20.02.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1B785B-C9C3-4D45-8421-9748E72356D8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C4FC97-E9E5-4D00-938D-0C949C4DD0D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867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2554">
          <p15:clr>
            <a:srgbClr val="547EBF"/>
          </p15:clr>
        </p15:guide>
        <p15:guide id="8" pos="2677">
          <p15:clr>
            <a:srgbClr val="547EBF"/>
          </p15:clr>
        </p15:guide>
        <p15:guide id="9" pos="5003">
          <p15:clr>
            <a:srgbClr val="547EBF"/>
          </p15:clr>
        </p15:guide>
        <p15:guide id="10" pos="5126">
          <p15:clr>
            <a:srgbClr val="547EBF"/>
          </p15:clr>
        </p15:guide>
        <p15:guide id="11" orient="horz" pos="3874">
          <p15:clr>
            <a:srgbClr val="547EBF"/>
          </p15:clr>
        </p15:guide>
        <p15:guide id="12" orient="horz" pos="3997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2801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299201"/>
            <a:ext cx="2720851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299201"/>
            <a:ext cx="2720851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299201"/>
            <a:ext cx="2720851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299201"/>
            <a:ext cx="2720851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3201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3201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3201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3201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FC98E6-9128-4736-983A-6AA763A385EF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15E8C5EF-E32A-C84F-9157-EA005E82E703}" type="datetime1">
              <a:rPr lang="de-DE" smtClean="0"/>
              <a:t>20.02.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DD8B0D-F44E-412A-B581-21795CC1A43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FC68C4-31B7-4B22-BE58-67697FDF33E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402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1942">
          <p15:clr>
            <a:srgbClr val="547EBF"/>
          </p15:clr>
        </p15:guide>
        <p15:guide id="8" pos="2064">
          <p15:clr>
            <a:srgbClr val="547EBF"/>
          </p15:clr>
        </p15:guide>
        <p15:guide id="9" pos="3779">
          <p15:clr>
            <a:srgbClr val="547EBF"/>
          </p15:clr>
        </p15:guide>
        <p15:guide id="10" pos="3901">
          <p15:clr>
            <a:srgbClr val="547EBF"/>
          </p15:clr>
        </p15:guide>
        <p15:guide id="11" pos="5616">
          <p15:clr>
            <a:srgbClr val="547EBF"/>
          </p15:clr>
        </p15:guide>
        <p15:guide id="12" pos="5738">
          <p15:clr>
            <a:srgbClr val="547EBF"/>
          </p15:clr>
        </p15:guide>
        <p15:guide id="13" orient="horz" pos="3874">
          <p15:clr>
            <a:srgbClr val="547EBF"/>
          </p15:clr>
        </p15:guide>
        <p15:guide id="14" orient="horz" pos="3997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0BCA23D-685A-4A56-BF02-D1B28433F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68F41-154C-1640-A6F3-07D539F3BE85}" type="datetime1">
              <a:rPr lang="de-DE" smtClean="0"/>
              <a:t>20.02.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7DB658-9AE4-4F44-9DEB-5E897E7A37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CA47B40-711D-4456-8202-123DEAC06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953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39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74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4119">
          <p15:clr>
            <a:srgbClr val="547EBF"/>
          </p15:clr>
        </p15:guide>
        <p15:guide id="7" orient="horz" pos="874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CDFAF897-DF65-4A39-AD79-9594B3D4E98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89619" cy="6858000"/>
          </a:xfrm>
          <a:custGeom>
            <a:avLst/>
            <a:gdLst>
              <a:gd name="connsiteX0" fmla="*/ 0 w 12192000"/>
              <a:gd name="connsiteY0" fmla="*/ 0 h 6857999"/>
              <a:gd name="connsiteX1" fmla="*/ 12192000 w 12192000"/>
              <a:gd name="connsiteY1" fmla="*/ 0 h 6857999"/>
              <a:gd name="connsiteX2" fmla="*/ 12192000 w 12192000"/>
              <a:gd name="connsiteY2" fmla="*/ 6857999 h 6857999"/>
              <a:gd name="connsiteX3" fmla="*/ 0 w 12192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7999"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noFill/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7" y="2748600"/>
            <a:ext cx="7942263" cy="2655118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83D21FF-3078-44A2-B5F7-185C32E8F0D9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ADBA1FDE-836C-3246-81F4-B580E9BF314B}" type="datetime1">
              <a:rPr lang="de-DE" smtClean="0"/>
              <a:t>20.02.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A6AB8FD-BEC4-4E50-B465-DB4BE4A7A349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4784D1F-D548-4A0D-924A-AD5C0148F299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8" name="Date Placeholder 8">
            <a:extLst>
              <a:ext uri="{FF2B5EF4-FFF2-40B4-BE49-F238E27FC236}">
                <a16:creationId xmlns:a16="http://schemas.microsoft.com/office/drawing/2014/main" id="{AEE5834D-03D7-444C-BCE1-1C130080741D}"/>
              </a:ext>
            </a:extLst>
          </p:cNvPr>
          <p:cNvSpPr txBox="1">
            <a:spLocks/>
          </p:cNvSpPr>
          <p:nvPr/>
        </p:nvSpPr>
        <p:spPr>
          <a:xfrm>
            <a:off x="10178400" y="6351918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972000" rtl="0" eaLnBrk="1" latinLnBrk="0" hangingPunct="1">
              <a:defRPr sz="600" kern="1200" baseline="0">
                <a:noFill/>
                <a:latin typeface="+mn-lt"/>
                <a:ea typeface="+mn-ea"/>
                <a:cs typeface="+mn-cs"/>
              </a:defRPr>
            </a:lvl1pPr>
            <a:lvl2pPr marL="2916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832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748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64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580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496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412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328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4A728B0-2EE8-4602-849F-D2D469FDAEE2}" type="datetime1">
              <a:rPr lang="en-US"/>
              <a:pPr/>
              <a:t>2/20/24</a:t>
            </a:fld>
            <a:endParaRPr lang="en-US" dirty="0"/>
          </a:p>
        </p:txBody>
      </p:sp>
      <p:sp>
        <p:nvSpPr>
          <p:cNvPr id="15" name="Flight Mode" hidden="1">
            <a:extLst>
              <a:ext uri="{FF2B5EF4-FFF2-40B4-BE49-F238E27FC236}">
                <a16:creationId xmlns:a16="http://schemas.microsoft.com/office/drawing/2014/main" id="{E71BAFC0-28F1-4220-8D1D-4288FC9DD783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lvl="0"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9564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>
          <p15:clr>
            <a:srgbClr val="547EB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&#10;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55C34C80-C2F9-4545-B7CF-646DB17E4A89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7999"/>
              <a:gd name="connsiteX1" fmla="*/ 12192000 w 12192000"/>
              <a:gd name="connsiteY1" fmla="*/ 0 h 6857999"/>
              <a:gd name="connsiteX2" fmla="*/ 12192000 w 12192000"/>
              <a:gd name="connsiteY2" fmla="*/ 6857999 h 6857999"/>
              <a:gd name="connsiteX3" fmla="*/ 0 w 12192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7999"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noFill/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7" y="2748600"/>
            <a:ext cx="7942263" cy="2655118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FFD28A3-0057-45C9-933E-F1F8E9007C18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AA325C03-5A49-B048-ACF2-C98FEE65AF3B}" type="datetime1">
              <a:rPr lang="de-DE" smtClean="0"/>
              <a:t>20.02.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43835C8-45A5-45C9-9339-AFD289290DD4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71A0EC3-26A6-4C28-9EF5-65C8EDF8F427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8" name="Date Placeholder 8">
            <a:extLst>
              <a:ext uri="{FF2B5EF4-FFF2-40B4-BE49-F238E27FC236}">
                <a16:creationId xmlns:a16="http://schemas.microsoft.com/office/drawing/2014/main" id="{285E683E-36BE-4472-867E-6657168BE1CA}"/>
              </a:ext>
            </a:extLst>
          </p:cNvPr>
          <p:cNvSpPr txBox="1">
            <a:spLocks/>
          </p:cNvSpPr>
          <p:nvPr/>
        </p:nvSpPr>
        <p:spPr>
          <a:xfrm>
            <a:off x="12142496" y="6817352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972000" rtl="0" eaLnBrk="1" latinLnBrk="0" hangingPunct="1">
              <a:defRPr sz="600" kern="1200" baseline="0">
                <a:noFill/>
                <a:latin typeface="+mn-lt"/>
                <a:ea typeface="+mn-ea"/>
                <a:cs typeface="+mn-cs"/>
              </a:defRPr>
            </a:lvl1pPr>
            <a:lvl2pPr marL="2916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832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748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64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580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496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412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32800" algn="l" defTabSz="9720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4A728B0-2EE8-4602-849F-D2D469FDAEE2}" type="datetime1">
              <a:rPr lang="en-US"/>
              <a:pPr/>
              <a:t>2/20/24</a:t>
            </a:fld>
            <a:endParaRPr lang="en-US" dirty="0"/>
          </a:p>
        </p:txBody>
      </p:sp>
      <p:sp>
        <p:nvSpPr>
          <p:cNvPr id="15" name="Flight Mode" hidden="1">
            <a:extLst>
              <a:ext uri="{FF2B5EF4-FFF2-40B4-BE49-F238E27FC236}">
                <a16:creationId xmlns:a16="http://schemas.microsoft.com/office/drawing/2014/main" id="{3AEA97AA-692E-4683-9EC6-282863D695B9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lvl="0"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42801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>
          <p15:clr>
            <a:srgbClr val="FFFF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&#10;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3DB05D-4AD4-4A0F-80D0-C27F0929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BED6A1-DA91-7E47-95E5-8058811B2299}" type="datetime1">
              <a:rPr lang="de-DE" smtClean="0"/>
              <a:t>20.02.24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CA95A03A-C550-4EF8-9C11-CE4F0F3DA9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645302F4-8D2D-4B2F-BFD7-4EA091DB17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C9924C9-3E7F-4E60-ABD9-9DA79E2B571A}"/>
              </a:ext>
            </a:extLst>
          </p:cNvPr>
          <p:cNvGrpSpPr>
            <a:grpSpLocks noChangeAspect="1"/>
          </p:cNvGrpSpPr>
          <p:nvPr/>
        </p:nvGrpSpPr>
        <p:grpSpPr>
          <a:xfrm>
            <a:off x="3082800" y="2457000"/>
            <a:ext cx="6026400" cy="1223725"/>
            <a:chOff x="10178400" y="6351918"/>
            <a:chExt cx="1652360" cy="335529"/>
          </a:xfrm>
        </p:grpSpPr>
        <p:sp>
          <p:nvSpPr>
            <p:cNvPr id="18" name="Date Placeholder 8">
              <a:extLst>
                <a:ext uri="{FF2B5EF4-FFF2-40B4-BE49-F238E27FC236}">
                  <a16:creationId xmlns:a16="http://schemas.microsoft.com/office/drawing/2014/main" id="{A56AC832-D5E5-459E-A74C-763D9FD9F0A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2/20/24</a:t>
              </a:fld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BBBC5A2-7844-4EC7-99F1-2A1B0C9A8064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9AA3258-0E88-4920-BB74-0EE684AF0A69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D121489E-DD05-4C53-9DC8-63B7606978BC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835D4D64-AA07-44C1-9C43-8A207E6FC194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5C02E610-5C72-476D-AD18-136D54CCD9B8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C478774F-E58D-40F5-81EC-25795E730B20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FA12B51C-1DC3-4040-82E8-EBB00CD95F1B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FF5AE7E4-8684-4724-87D2-6462421C89F4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3B7D16D6-9CD5-4981-8118-07295C1C528E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144564D0-8836-4E85-85B9-25B4A3B66E23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F82D2409-E894-4290-A014-CF59547B8467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AB49E7F3-0E47-48B4-B2D1-B0BF63773364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9764B68-44C1-4DF6-9563-74C0B661EE42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52928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&#10;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2A4083-9B63-4A62-B4A9-566CC31C9F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0BD37A-2913-8742-AF46-E9CC1AB42E89}" type="datetime1">
              <a:rPr lang="de-DE" smtClean="0"/>
              <a:t>20.02.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221152F-7EAA-4403-92F8-059FCF0676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AE91456-4515-4CBA-A20A-40E0D481BA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8C83726-3D6D-4C46-A7DE-47DEBAF055B7}"/>
              </a:ext>
            </a:extLst>
          </p:cNvPr>
          <p:cNvGrpSpPr>
            <a:grpSpLocks noChangeAspect="1"/>
          </p:cNvGrpSpPr>
          <p:nvPr/>
        </p:nvGrpSpPr>
        <p:grpSpPr>
          <a:xfrm>
            <a:off x="3082800" y="2457000"/>
            <a:ext cx="6026400" cy="1223725"/>
            <a:chOff x="10178400" y="6351918"/>
            <a:chExt cx="1652360" cy="335529"/>
          </a:xfrm>
        </p:grpSpPr>
        <p:sp>
          <p:nvSpPr>
            <p:cNvPr id="17" name="Date Placeholder 8">
              <a:extLst>
                <a:ext uri="{FF2B5EF4-FFF2-40B4-BE49-F238E27FC236}">
                  <a16:creationId xmlns:a16="http://schemas.microsoft.com/office/drawing/2014/main" id="{C94137F1-9E8E-4674-86B9-DD72527991A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2/20/24</a:t>
              </a:fld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88BA2E3-44FE-459D-99D0-1D9F6BF386A4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EB271F76-CAA8-4911-BB11-761F98A76549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7CBCCE5F-0059-47AB-86EA-41A4FA8D8A2A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818C457D-B27E-4929-8E41-6BC6E5D7BB4D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B14DC750-E62B-45D7-A17D-7362AA907BB3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D22EC85C-E678-414A-A40C-64AEA685E8D8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75770E9F-D01F-4072-A621-B4FAD68A93FD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FAA5D98C-7D3A-47FA-903D-5DB5C11DA30C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C93D8682-FC2E-4CFB-8D58-3760F3D2E23D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51EDDAF0-95CE-483D-B234-7073B299C56E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3696631F-48C0-462A-989F-2B3F594C5B39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D4CE9B2C-AF59-4DEA-911A-0B298DCA0990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011FCC55-03D0-4EF6-9077-0CF3E058B9CC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96239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AG -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© 2023 Software AG. All rights reserved.  </a:t>
            </a:r>
          </a:p>
        </p:txBody>
      </p:sp>
      <p:sp>
        <p:nvSpPr>
          <p:cNvPr id="5" name="Content Placeholder 10"/>
          <p:cNvSpPr>
            <a:spLocks noGrp="1"/>
          </p:cNvSpPr>
          <p:nvPr>
            <p:ph sz="quarter" idx="11" hasCustomPrompt="1"/>
          </p:nvPr>
        </p:nvSpPr>
        <p:spPr>
          <a:xfrm>
            <a:off x="527051" y="1509185"/>
            <a:ext cx="11137900" cy="4455583"/>
          </a:xfrm>
        </p:spPr>
        <p:txBody>
          <a:bodyPr lIns="0" tIns="0" rIns="0" bIns="0"/>
          <a:lstStyle>
            <a:lvl1pPr>
              <a:buClr>
                <a:schemeClr val="accent3"/>
              </a:buClr>
              <a:defRPr sz="2400"/>
            </a:lvl1pPr>
            <a:lvl2pPr>
              <a:buClr>
                <a:schemeClr val="accent3"/>
              </a:buClr>
              <a:defRPr sz="2133"/>
            </a:lvl2pPr>
            <a:lvl3pPr>
              <a:buClr>
                <a:schemeClr val="accent3"/>
              </a:buClr>
              <a:defRPr sz="1867"/>
            </a:lvl3pPr>
            <a:lvl4pPr>
              <a:buClr>
                <a:schemeClr val="accent3"/>
              </a:buClr>
              <a:defRPr sz="16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TO ADD HEADLINE 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31FE4DEF-A9DE-4B1F-9121-014C936D5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7172" y="749607"/>
            <a:ext cx="10963200" cy="5856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933" cap="none" baseline="0"/>
            </a:lvl1pPr>
            <a:lvl2pPr>
              <a:defRPr sz="2933"/>
            </a:lvl2pPr>
            <a:lvl3pPr>
              <a:defRPr sz="2933"/>
            </a:lvl3pPr>
            <a:lvl4pPr>
              <a:defRPr sz="2933"/>
            </a:lvl4pPr>
            <a:lvl5pPr>
              <a:defRPr sz="2933"/>
            </a:lvl5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835148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Slide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A7CD5C-00B9-478F-8031-ACE7B3DE2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262467"/>
            <a:ext cx="11616000" cy="4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2F82FC-C35F-46ED-AD87-89B2614658B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© 2023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A13FB6-9905-465B-9833-AF58E1A3D49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BE75FA5-C509-4590-93CE-878685F65CB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F3F4E569-E7EF-4B7D-A893-F2E38E7A50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000" y="838128"/>
            <a:ext cx="11616000" cy="264345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3906959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&#10;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68C2BE-BFFD-44FE-B91C-2F7619E5C95B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6C116706-B439-D14C-B02C-EFC26461BDD8}" type="datetime1">
              <a:rPr lang="de-DE" smtClean="0"/>
              <a:t>20.02.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86371E-9D17-4833-9D7C-91918309D1E3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 dirty="0"/>
              <a:t>© 2023 Software AG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68C924-92B2-4D7E-98BF-44DF9DEF746B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29464F3-59F2-4CAE-8832-5EE315CC0D24}"/>
              </a:ext>
            </a:extLst>
          </p:cNvPr>
          <p:cNvGrpSpPr>
            <a:grpSpLocks noChangeAspect="1"/>
          </p:cNvGrpSpPr>
          <p:nvPr/>
        </p:nvGrpSpPr>
        <p:grpSpPr>
          <a:xfrm>
            <a:off x="8137200" y="5567400"/>
            <a:ext cx="1749600" cy="355275"/>
            <a:chOff x="10178400" y="6351918"/>
            <a:chExt cx="1652360" cy="335529"/>
          </a:xfrm>
        </p:grpSpPr>
        <p:sp>
          <p:nvSpPr>
            <p:cNvPr id="22" name="Date Placeholder 8">
              <a:extLst>
                <a:ext uri="{FF2B5EF4-FFF2-40B4-BE49-F238E27FC236}">
                  <a16:creationId xmlns:a16="http://schemas.microsoft.com/office/drawing/2014/main" id="{A940C691-2570-4172-B700-44E3B95B6D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2/20/24</a:t>
              </a:fld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115C565-0794-4F11-B3E4-11D900876D6C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763619E5-904B-4602-A812-EC1CB274C269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62CC646E-4A17-48E2-802C-76EC95C18DC2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619DB632-6E80-4AF6-B454-8B2A5370EFE4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5B737D10-FD12-4C0D-AB5B-7DB95F750F1B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7FB01C06-8027-4FFE-89B7-7FCF10E5E4A8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6C12CBCC-61FB-4A50-AF22-5D80EF279D46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5A99098-AE1D-4454-AA0A-EA7A867BA75E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E062E073-A445-4E01-8F19-B156F8EBB10E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675FE43-A9A2-4C84-91DB-3B0175858DAD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C656904C-4966-4553-A01B-5D1BF776C05F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B35B70E4-0D33-4030-B118-4FBE57767387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D85E4C8D-B307-4203-9444-740633D248BD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5955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1_Title Slide&#10;- Light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ED4F31-25E4-491D-B5E8-D66AEF3797B7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ADCA80DE-1B6C-BB44-A836-009C06A4FFF0}" type="datetime1">
              <a:rPr lang="de-DE" smtClean="0"/>
              <a:t>20.02.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92C379-FC46-4B88-8A5A-70D16AE18E9C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950E2A-E921-4BE2-8188-B66ECC5E8F85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5158ED9-7A79-4424-9274-92598FC16B7B}"/>
              </a:ext>
            </a:extLst>
          </p:cNvPr>
          <p:cNvGrpSpPr>
            <a:grpSpLocks noChangeAspect="1"/>
          </p:cNvGrpSpPr>
          <p:nvPr/>
        </p:nvGrpSpPr>
        <p:grpSpPr>
          <a:xfrm>
            <a:off x="8137200" y="5567400"/>
            <a:ext cx="1749600" cy="355275"/>
            <a:chOff x="10178400" y="6351918"/>
            <a:chExt cx="1652360" cy="335529"/>
          </a:xfrm>
        </p:grpSpPr>
        <p:sp>
          <p:nvSpPr>
            <p:cNvPr id="22" name="Date Placeholder 8">
              <a:extLst>
                <a:ext uri="{FF2B5EF4-FFF2-40B4-BE49-F238E27FC236}">
                  <a16:creationId xmlns:a16="http://schemas.microsoft.com/office/drawing/2014/main" id="{96F0F6FA-373E-4A47-81AC-194DCE35A5F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2/20/24</a:t>
              </a:fld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172D8A0-9BC6-4D20-9398-223E179DD8EC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7D29E535-B8C3-447F-B091-C6E787D18142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0732A30A-1E92-471E-A296-49BC85338296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6B08A38-9D68-4C96-BF03-FCF5F482E636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C7E29541-6B18-4DB6-9638-26B523EE7663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98BE8DB7-79EE-4915-9A84-E74213DC9C50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F3A38DA8-635E-40D2-A974-87859E318B00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F0C3739D-29E2-446B-8282-40228EB6E145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23B3D26-779A-46EF-A03D-91182B40D709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45175015-355A-4231-A3FE-A1548BA4E655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78CE6C3-EBF3-41F2-B045-E9C1A225F1FC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5F1CDC7-73D7-4135-A63C-31D52AACA192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49153E24-462A-4AFB-B893-27AEC39B948E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>
            <p:custDataLst>
              <p:custData r:id="rId1"/>
              <p:custData r:id="rId2"/>
              <p:custData r:id="rId3"/>
              <p:tags r:id="rId5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4821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7805F2-F64C-4816-B6E9-7621B8A5342B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EB4863A1-A120-A246-A856-BFC43A0462C7}" type="datetime1">
              <a:rPr lang="de-DE" smtClean="0"/>
              <a:t>20.02.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CA24CA-7FC1-4CC3-8F5E-996AF8BA148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82BDE36-1A1D-410B-96A0-FDCAB934B5F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7762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5A3BE35-C8DD-4F4A-8292-C31878682C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07450-B80D-FE49-B970-4731A7163C6D}" type="datetime1">
              <a:rPr lang="de-DE" smtClean="0"/>
              <a:t>20.02.24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6879BB2-E118-44AA-8E66-B84B110651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067EF4F-8A21-4FEF-AFB0-34DD83BF17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636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332F08-FDC8-40F5-AC87-D1CEC5436A5C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E97BB353-01F3-AC41-BE81-3A621480861A}" type="datetime1">
              <a:rPr lang="de-DE" smtClean="0"/>
              <a:t>20.02.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88F7F6-54CE-4A1B-99AC-A934BA75F98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971506-A838-42BE-8EC6-E5DA4E396B6E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1515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1364">
          <p15:clr>
            <a:srgbClr val="547EBF"/>
          </p15:clr>
        </p15:guide>
        <p15:guide id="3" orient="horz" pos="1486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>
          <p15:clr>
            <a:srgbClr val="547EBF"/>
          </p15:clr>
        </p15:guide>
        <p15:guide id="8" pos="3901">
          <p15:clr>
            <a:srgbClr val="547EBF"/>
          </p15:clr>
        </p15:guide>
        <p15:guide id="9" orient="horz" pos="3874">
          <p15:clr>
            <a:srgbClr val="547EBF"/>
          </p15:clr>
        </p15:guide>
        <p15:guide id="10" orient="horz" pos="3997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BC6C70-F101-40CA-A6B2-7B3FC383C6DF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3699EB27-0162-7441-973D-44FA86F888B7}" type="datetime1">
              <a:rPr lang="de-DE" smtClean="0"/>
              <a:t>20.02.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E39B36-C6B0-4C48-99E1-7A5B820A470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499FFC-6F31-4CE1-B91F-5221729AB923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043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3">
          <p15:clr>
            <a:srgbClr val="547EBF"/>
          </p15:clr>
        </p15:guide>
        <p15:guide id="2" orient="horz" pos="262">
          <p15:clr>
            <a:srgbClr val="547EBF"/>
          </p15:clr>
        </p15:guide>
        <p15:guide id="3" orient="horz" pos="813">
          <p15:clr>
            <a:srgbClr val="547EBF"/>
          </p15:clr>
        </p15:guide>
        <p15:guide id="4" orient="horz" pos="1854">
          <p15:clr>
            <a:srgbClr val="547EBF"/>
          </p15:clr>
        </p15:guide>
        <p15:guide id="5" orient="horz" pos="2099">
          <p15:clr>
            <a:srgbClr val="547EBF"/>
          </p15:clr>
        </p15:guide>
        <p15:guide id="6" orient="horz" pos="2589">
          <p15:clr>
            <a:srgbClr val="547EBF"/>
          </p15:clr>
        </p15:guide>
        <p15:guide id="7" orient="horz" pos="2711">
          <p15:clr>
            <a:srgbClr val="547EBF"/>
          </p15:clr>
        </p15:guide>
        <p15:guide id="8" orient="horz" pos="3813">
          <p15:clr>
            <a:srgbClr val="547EBF"/>
          </p15:clr>
        </p15:guide>
        <p15:guide id="9" orient="horz" pos="3874">
          <p15:clr>
            <a:srgbClr val="547EBF"/>
          </p15:clr>
        </p15:guide>
        <p15:guide id="10" orient="horz" pos="3997">
          <p15:clr>
            <a:srgbClr val="547EBF"/>
          </p15:clr>
        </p15:guide>
        <p15:guide id="11" pos="228">
          <p15:clr>
            <a:srgbClr val="547EBF"/>
          </p15:clr>
        </p15:guide>
        <p15:guide id="12" pos="2554">
          <p15:clr>
            <a:srgbClr val="547EBF"/>
          </p15:clr>
        </p15:guide>
        <p15:guide id="13" pos="2677">
          <p15:clr>
            <a:srgbClr val="547EBF"/>
          </p15:clr>
        </p15:guide>
        <p15:guide id="14" pos="5126">
          <p15:clr>
            <a:srgbClr val="547EBF"/>
          </p15:clr>
        </p15:guide>
        <p15:guide id="15" pos="7452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47905361-828B-4065-BD54-F5B2B537BD5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D47FCC5B-D5A4-524C-B492-4BB809ED6346}" type="datetime1">
              <a:rPr lang="de-DE" smtClean="0"/>
              <a:t>20.02.24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4EE3D50A-1389-4284-8526-35FDED147FC6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95F8B6B-1A53-4209-A6BC-C2AC293C563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301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3813">
          <p15:clr>
            <a:srgbClr val="547EBF"/>
          </p15:clr>
        </p15:guide>
        <p15:guide id="3" pos="1942">
          <p15:clr>
            <a:srgbClr val="547EBF"/>
          </p15:clr>
        </p15:guide>
        <p15:guide id="4" pos="2064">
          <p15:clr>
            <a:srgbClr val="547EBF"/>
          </p15:clr>
        </p15:guide>
        <p15:guide id="5" pos="3779">
          <p15:clr>
            <a:srgbClr val="547EBF"/>
          </p15:clr>
        </p15:guide>
        <p15:guide id="6" pos="3901">
          <p15:clr>
            <a:srgbClr val="547EBF"/>
          </p15:clr>
        </p15:guide>
        <p15:guide id="7" pos="5738">
          <p15:clr>
            <a:srgbClr val="547EBF"/>
          </p15:clr>
        </p15:guide>
        <p15:guide id="8" pos="5616">
          <p15:clr>
            <a:srgbClr val="547EBF"/>
          </p15:clr>
        </p15:guide>
        <p15:guide id="9" pos="7452">
          <p15:clr>
            <a:srgbClr val="547EBF"/>
          </p15:clr>
        </p15:guide>
        <p15:guide id="10" orient="horz" pos="139">
          <p15:clr>
            <a:srgbClr val="547EBF"/>
          </p15:clr>
        </p15:guide>
        <p15:guide id="11" orient="horz" pos="446">
          <p15:clr>
            <a:srgbClr val="547EBF"/>
          </p15:clr>
        </p15:guide>
        <p15:guide id="12" orient="horz" pos="629">
          <p15:clr>
            <a:srgbClr val="547EBF"/>
          </p15:clr>
        </p15:guide>
        <p15:guide id="13" orient="horz" pos="874">
          <p15:clr>
            <a:srgbClr val="547EBF"/>
          </p15:clr>
        </p15:guide>
        <p15:guide id="14" orient="horz" pos="3874">
          <p15:clr>
            <a:srgbClr val="547EBF"/>
          </p15:clr>
        </p15:guide>
        <p15:guide id="15" orient="horz" pos="3997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>
            <p:custDataLst>
              <p:custData r:id="rId1"/>
              <p:custData r:id="rId2"/>
              <p:custData r:id="rId3"/>
              <p:tags r:id="rId4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8B11BC-6CA3-44AD-A5CF-FFDACBB5C2A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26A6BA6-5537-9F49-BE3F-ED7929E724E7}" type="datetime1">
              <a:rPr lang="de-DE" smtClean="0"/>
              <a:t>20.02.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1F89D3-12CA-4686-94D2-CC317890BB3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4C637D-CB79-4849-8B27-F6BEFF866F7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307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>
          <p15:clr>
            <a:srgbClr val="547EBF"/>
          </p15:clr>
        </p15:guide>
        <p15:guide id="8" pos="3901">
          <p15:clr>
            <a:srgbClr val="547EBF"/>
          </p15:clr>
        </p15:guide>
        <p15:guide id="9" orient="horz" pos="3874">
          <p15:clr>
            <a:srgbClr val="547EBF"/>
          </p15:clr>
        </p15:guide>
        <p15:guide id="10" orient="horz" pos="3997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5.xml"/><Relationship Id="rId21" Type="http://schemas.openxmlformats.org/officeDocument/2006/relationships/customXml" Target="../../customXml/item3.xml"/><Relationship Id="rId42" Type="http://schemas.openxmlformats.org/officeDocument/2006/relationships/tags" Target="../tags/tag21.xml"/><Relationship Id="rId47" Type="http://schemas.openxmlformats.org/officeDocument/2006/relationships/tags" Target="../tags/tag26.xml"/><Relationship Id="rId63" Type="http://schemas.openxmlformats.org/officeDocument/2006/relationships/tags" Target="../tags/tag42.xml"/><Relationship Id="rId68" Type="http://schemas.openxmlformats.org/officeDocument/2006/relationships/tags" Target="../tags/tag47.xml"/><Relationship Id="rId84" Type="http://schemas.openxmlformats.org/officeDocument/2006/relationships/tags" Target="../tags/tag63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1.xml"/><Relationship Id="rId37" Type="http://schemas.openxmlformats.org/officeDocument/2006/relationships/tags" Target="../tags/tag16.xml"/><Relationship Id="rId53" Type="http://schemas.openxmlformats.org/officeDocument/2006/relationships/tags" Target="../tags/tag32.xml"/><Relationship Id="rId58" Type="http://schemas.openxmlformats.org/officeDocument/2006/relationships/tags" Target="../tags/tag37.xml"/><Relationship Id="rId74" Type="http://schemas.openxmlformats.org/officeDocument/2006/relationships/tags" Target="../tags/tag53.xml"/><Relationship Id="rId79" Type="http://schemas.openxmlformats.org/officeDocument/2006/relationships/tags" Target="../tags/tag58.xml"/><Relationship Id="rId5" Type="http://schemas.openxmlformats.org/officeDocument/2006/relationships/slideLayout" Target="../slideLayouts/slideLayout5.xml"/><Relationship Id="rId19" Type="http://schemas.openxmlformats.org/officeDocument/2006/relationships/theme" Target="../theme/theme1.xml"/><Relationship Id="rId14" Type="http://schemas.openxmlformats.org/officeDocument/2006/relationships/slideLayout" Target="../slideLayouts/slideLayout14.xml"/><Relationship Id="rId22" Type="http://schemas.openxmlformats.org/officeDocument/2006/relationships/customXml" Target="../../customXml/item2.xml"/><Relationship Id="rId27" Type="http://schemas.openxmlformats.org/officeDocument/2006/relationships/tags" Target="../tags/tag6.xml"/><Relationship Id="rId30" Type="http://schemas.openxmlformats.org/officeDocument/2006/relationships/tags" Target="../tags/tag9.xml"/><Relationship Id="rId35" Type="http://schemas.openxmlformats.org/officeDocument/2006/relationships/tags" Target="../tags/tag14.xml"/><Relationship Id="rId43" Type="http://schemas.openxmlformats.org/officeDocument/2006/relationships/tags" Target="../tags/tag22.xml"/><Relationship Id="rId48" Type="http://schemas.openxmlformats.org/officeDocument/2006/relationships/tags" Target="../tags/tag27.xml"/><Relationship Id="rId56" Type="http://schemas.openxmlformats.org/officeDocument/2006/relationships/tags" Target="../tags/tag35.xml"/><Relationship Id="rId64" Type="http://schemas.openxmlformats.org/officeDocument/2006/relationships/tags" Target="../tags/tag43.xml"/><Relationship Id="rId69" Type="http://schemas.openxmlformats.org/officeDocument/2006/relationships/tags" Target="../tags/tag48.xml"/><Relationship Id="rId77" Type="http://schemas.openxmlformats.org/officeDocument/2006/relationships/tags" Target="../tags/tag56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0.xml"/><Relationship Id="rId72" Type="http://schemas.openxmlformats.org/officeDocument/2006/relationships/tags" Target="../tags/tag51.xml"/><Relationship Id="rId80" Type="http://schemas.openxmlformats.org/officeDocument/2006/relationships/tags" Target="../tags/tag59.xml"/><Relationship Id="rId85" Type="http://schemas.openxmlformats.org/officeDocument/2006/relationships/tags" Target="../tags/tag64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4.xml"/><Relationship Id="rId33" Type="http://schemas.openxmlformats.org/officeDocument/2006/relationships/tags" Target="../tags/tag12.xml"/><Relationship Id="rId38" Type="http://schemas.openxmlformats.org/officeDocument/2006/relationships/tags" Target="../tags/tag17.xml"/><Relationship Id="rId46" Type="http://schemas.openxmlformats.org/officeDocument/2006/relationships/tags" Target="../tags/tag25.xml"/><Relationship Id="rId59" Type="http://schemas.openxmlformats.org/officeDocument/2006/relationships/tags" Target="../tags/tag38.xml"/><Relationship Id="rId67" Type="http://schemas.openxmlformats.org/officeDocument/2006/relationships/tags" Target="../tags/tag46.xml"/><Relationship Id="rId20" Type="http://schemas.openxmlformats.org/officeDocument/2006/relationships/customXml" Target="../../customXml/item1.xml"/><Relationship Id="rId41" Type="http://schemas.openxmlformats.org/officeDocument/2006/relationships/tags" Target="../tags/tag20.xml"/><Relationship Id="rId54" Type="http://schemas.openxmlformats.org/officeDocument/2006/relationships/tags" Target="../tags/tag33.xml"/><Relationship Id="rId62" Type="http://schemas.openxmlformats.org/officeDocument/2006/relationships/tags" Target="../tags/tag41.xml"/><Relationship Id="rId70" Type="http://schemas.openxmlformats.org/officeDocument/2006/relationships/tags" Target="../tags/tag49.xml"/><Relationship Id="rId75" Type="http://schemas.openxmlformats.org/officeDocument/2006/relationships/tags" Target="../tags/tag54.xml"/><Relationship Id="rId83" Type="http://schemas.openxmlformats.org/officeDocument/2006/relationships/tags" Target="../tags/tag62.xml"/><Relationship Id="rId88" Type="http://schemas.openxmlformats.org/officeDocument/2006/relationships/tags" Target="../tags/tag6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28" Type="http://schemas.openxmlformats.org/officeDocument/2006/relationships/tags" Target="../tags/tag7.xml"/><Relationship Id="rId36" Type="http://schemas.openxmlformats.org/officeDocument/2006/relationships/tags" Target="../tags/tag15.xml"/><Relationship Id="rId49" Type="http://schemas.openxmlformats.org/officeDocument/2006/relationships/tags" Target="../tags/tag28.xml"/><Relationship Id="rId57" Type="http://schemas.openxmlformats.org/officeDocument/2006/relationships/tags" Target="../tags/tag36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0.xml"/><Relationship Id="rId44" Type="http://schemas.openxmlformats.org/officeDocument/2006/relationships/tags" Target="../tags/tag23.xml"/><Relationship Id="rId52" Type="http://schemas.openxmlformats.org/officeDocument/2006/relationships/tags" Target="../tags/tag31.xml"/><Relationship Id="rId60" Type="http://schemas.openxmlformats.org/officeDocument/2006/relationships/tags" Target="../tags/tag39.xml"/><Relationship Id="rId65" Type="http://schemas.openxmlformats.org/officeDocument/2006/relationships/tags" Target="../tags/tag44.xml"/><Relationship Id="rId73" Type="http://schemas.openxmlformats.org/officeDocument/2006/relationships/tags" Target="../tags/tag52.xml"/><Relationship Id="rId78" Type="http://schemas.openxmlformats.org/officeDocument/2006/relationships/tags" Target="../tags/tag57.xml"/><Relationship Id="rId81" Type="http://schemas.openxmlformats.org/officeDocument/2006/relationships/tags" Target="../tags/tag60.xml"/><Relationship Id="rId86" Type="http://schemas.openxmlformats.org/officeDocument/2006/relationships/tags" Target="../tags/tag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18.xml"/><Relationship Id="rId34" Type="http://schemas.openxmlformats.org/officeDocument/2006/relationships/tags" Target="../tags/tag13.xml"/><Relationship Id="rId50" Type="http://schemas.openxmlformats.org/officeDocument/2006/relationships/tags" Target="../tags/tag29.xml"/><Relationship Id="rId55" Type="http://schemas.openxmlformats.org/officeDocument/2006/relationships/tags" Target="../tags/tag34.xml"/><Relationship Id="rId76" Type="http://schemas.openxmlformats.org/officeDocument/2006/relationships/tags" Target="../tags/tag5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0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8.xml"/><Relationship Id="rId24" Type="http://schemas.openxmlformats.org/officeDocument/2006/relationships/tags" Target="../tags/tag3.xml"/><Relationship Id="rId40" Type="http://schemas.openxmlformats.org/officeDocument/2006/relationships/tags" Target="../tags/tag19.xml"/><Relationship Id="rId45" Type="http://schemas.openxmlformats.org/officeDocument/2006/relationships/tags" Target="../tags/tag24.xml"/><Relationship Id="rId66" Type="http://schemas.openxmlformats.org/officeDocument/2006/relationships/tags" Target="../tags/tag45.xml"/><Relationship Id="rId87" Type="http://schemas.openxmlformats.org/officeDocument/2006/relationships/tags" Target="../tags/tag66.xml"/><Relationship Id="rId61" Type="http://schemas.openxmlformats.org/officeDocument/2006/relationships/tags" Target="../tags/tag40.xml"/><Relationship Id="rId82" Type="http://schemas.openxmlformats.org/officeDocument/2006/relationships/tags" Target="../tags/tag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7" name="Group 166">
            <a:extLst>
              <a:ext uri="{FF2B5EF4-FFF2-40B4-BE49-F238E27FC236}">
                <a16:creationId xmlns:a16="http://schemas.microsoft.com/office/drawing/2014/main" id="{572B2565-927F-4932-9373-D7D8E15A4E8C}"/>
              </a:ext>
            </a:extLst>
          </p:cNvPr>
          <p:cNvGrpSpPr/>
          <p:nvPr/>
        </p:nvGrpSpPr>
        <p:grpSpPr>
          <a:xfrm>
            <a:off x="10178400" y="6351918"/>
            <a:ext cx="1652360" cy="335529"/>
            <a:chOff x="10178400" y="6351918"/>
            <a:chExt cx="1652360" cy="335529"/>
          </a:xfrm>
        </p:grpSpPr>
        <p:sp>
          <p:nvSpPr>
            <p:cNvPr id="168" name="Date Placeholder 8">
              <a:extLst>
                <a:ext uri="{FF2B5EF4-FFF2-40B4-BE49-F238E27FC236}">
                  <a16:creationId xmlns:a16="http://schemas.microsoft.com/office/drawing/2014/main" id="{B5509778-274E-47A0-951A-7B17BBB4C79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178400" y="6351918"/>
              <a:ext cx="3600" cy="3600"/>
            </a:xfrm>
            <a:prstGeom prst="rect">
              <a:avLst/>
            </a:prstGeom>
          </p:spPr>
          <p:txBody>
            <a:bodyPr vert="horz" wrap="none" lIns="0" tIns="0" rIns="0" bIns="0" rtlCol="0" anchor="b" anchorCtr="0"/>
            <a:lstStyle>
              <a:defPPr>
                <a:defRPr lang="en-US"/>
              </a:defPPr>
              <a:lvl1pPr marL="0" algn="r" defTabSz="972000" rtl="0" eaLnBrk="1" latinLnBrk="0" hangingPunct="1">
                <a:defRPr sz="600" kern="1200" baseline="0">
                  <a:noFill/>
                  <a:latin typeface="+mn-lt"/>
                  <a:ea typeface="+mn-ea"/>
                  <a:cs typeface="+mn-cs"/>
                </a:defRPr>
              </a:lvl1pPr>
              <a:lvl2pPr marL="291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4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80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6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12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800" algn="l" defTabSz="9720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04A728B0-2EE8-4602-849F-D2D469FDAEE2}" type="datetime1">
                <a:rPr lang="en-US"/>
                <a:pPr/>
                <a:t>2/20/24</a:t>
              </a:fld>
              <a:endParaRPr lang="en-US" dirty="0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BD23D12B-DB16-4677-908E-00598AEF0389}"/>
                </a:ext>
              </a:extLst>
            </p:cNvPr>
            <p:cNvSpPr/>
            <p:nvPr/>
          </p:nvSpPr>
          <p:spPr>
            <a:xfrm>
              <a:off x="10178400" y="6415204"/>
              <a:ext cx="271343" cy="208956"/>
            </a:xfrm>
            <a:custGeom>
              <a:avLst/>
              <a:gdLst>
                <a:gd name="connsiteX0" fmla="*/ 147461 w 271343"/>
                <a:gd name="connsiteY0" fmla="*/ 76118 h 208956"/>
                <a:gd name="connsiteX1" fmla="*/ 63287 w 271343"/>
                <a:gd name="connsiteY1" fmla="*/ 0 h 208956"/>
                <a:gd name="connsiteX2" fmla="*/ 0 w 271343"/>
                <a:gd name="connsiteY2" fmla="*/ 0 h 208956"/>
                <a:gd name="connsiteX3" fmla="*/ 123891 w 271343"/>
                <a:gd name="connsiteY3" fmla="*/ 132839 h 208956"/>
                <a:gd name="connsiteX4" fmla="*/ 208065 w 271343"/>
                <a:gd name="connsiteY4" fmla="*/ 208956 h 208956"/>
                <a:gd name="connsiteX5" fmla="*/ 271344 w 271343"/>
                <a:gd name="connsiteY5" fmla="*/ 208956 h 208956"/>
                <a:gd name="connsiteX6" fmla="*/ 147461 w 271343"/>
                <a:gd name="connsiteY6" fmla="*/ 76118 h 2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1343" h="208956">
                  <a:moveTo>
                    <a:pt x="147461" y="76118"/>
                  </a:moveTo>
                  <a:cubicBezTo>
                    <a:pt x="103587" y="64778"/>
                    <a:pt x="63287" y="50448"/>
                    <a:pt x="63287" y="0"/>
                  </a:cubicBezTo>
                  <a:lnTo>
                    <a:pt x="0" y="0"/>
                  </a:lnTo>
                  <a:cubicBezTo>
                    <a:pt x="0" y="94622"/>
                    <a:pt x="61795" y="117017"/>
                    <a:pt x="123891" y="132839"/>
                  </a:cubicBezTo>
                  <a:cubicBezTo>
                    <a:pt x="167765" y="144178"/>
                    <a:pt x="208065" y="154405"/>
                    <a:pt x="208065" y="208956"/>
                  </a:cubicBezTo>
                  <a:lnTo>
                    <a:pt x="271344" y="208956"/>
                  </a:lnTo>
                  <a:cubicBezTo>
                    <a:pt x="271344" y="113474"/>
                    <a:pt x="208657" y="91939"/>
                    <a:pt x="147461" y="76118"/>
                  </a:cubicBez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97000">
                  <a:schemeClr val="accent2"/>
                </a:gs>
              </a:gsLst>
              <a:lin ang="0" scaled="0"/>
            </a:gradFill>
            <a:ln w="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FA02A48D-7353-4D91-8A7B-4B6BD6F22735}"/>
                </a:ext>
              </a:extLst>
            </p:cNvPr>
            <p:cNvGrpSpPr/>
            <p:nvPr userDrawn="1"/>
          </p:nvGrpSpPr>
          <p:grpSpPr>
            <a:xfrm>
              <a:off x="10229447" y="6351918"/>
              <a:ext cx="1601313" cy="335529"/>
              <a:chOff x="10229447" y="6351918"/>
              <a:chExt cx="1601313" cy="335529"/>
            </a:xfrm>
          </p:grpSpPr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id="{09C5FE24-D935-426F-8C83-DA8660816199}"/>
                  </a:ext>
                </a:extLst>
              </p:cNvPr>
              <p:cNvSpPr/>
              <p:nvPr/>
            </p:nvSpPr>
            <p:spPr>
              <a:xfrm>
                <a:off x="10229447" y="6624161"/>
                <a:ext cx="157033" cy="63286"/>
              </a:xfrm>
              <a:custGeom>
                <a:avLst/>
                <a:gdLst>
                  <a:gd name="connsiteX0" fmla="*/ 0 w 157033"/>
                  <a:gd name="connsiteY0" fmla="*/ 63287 h 63286"/>
                  <a:gd name="connsiteX1" fmla="*/ 93115 w 157033"/>
                  <a:gd name="connsiteY1" fmla="*/ 63287 h 63286"/>
                  <a:gd name="connsiteX2" fmla="*/ 157033 w 157033"/>
                  <a:gd name="connsiteY2" fmla="*/ 0 h 63286"/>
                  <a:gd name="connsiteX3" fmla="*/ 0 w 157033"/>
                  <a:gd name="connsiteY3" fmla="*/ 0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7033" h="63286">
                    <a:moveTo>
                      <a:pt x="0" y="63287"/>
                    </a:moveTo>
                    <a:lnTo>
                      <a:pt x="93115" y="63287"/>
                    </a:lnTo>
                    <a:cubicBezTo>
                      <a:pt x="128041" y="63287"/>
                      <a:pt x="157033" y="36417"/>
                      <a:pt x="1570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30044ABF-8FE1-44FD-B6CB-1CDFE350D1B4}"/>
                  </a:ext>
                </a:extLst>
              </p:cNvPr>
              <p:cNvSpPr/>
              <p:nvPr/>
            </p:nvSpPr>
            <p:spPr>
              <a:xfrm>
                <a:off x="10241686" y="6351918"/>
                <a:ext cx="156717" cy="63286"/>
              </a:xfrm>
              <a:custGeom>
                <a:avLst/>
                <a:gdLst>
                  <a:gd name="connsiteX0" fmla="*/ 156718 w 156717"/>
                  <a:gd name="connsiteY0" fmla="*/ 0 h 63286"/>
                  <a:gd name="connsiteX1" fmla="*/ 63879 w 156717"/>
                  <a:gd name="connsiteY1" fmla="*/ 0 h 63286"/>
                  <a:gd name="connsiteX2" fmla="*/ 0 w 156717"/>
                  <a:gd name="connsiteY2" fmla="*/ 63287 h 63286"/>
                  <a:gd name="connsiteX3" fmla="*/ 156718 w 156717"/>
                  <a:gd name="connsiteY3" fmla="*/ 63287 h 6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717" h="63286">
                    <a:moveTo>
                      <a:pt x="156718" y="0"/>
                    </a:moveTo>
                    <a:lnTo>
                      <a:pt x="63879" y="0"/>
                    </a:lnTo>
                    <a:cubicBezTo>
                      <a:pt x="28953" y="0"/>
                      <a:pt x="0" y="26869"/>
                      <a:pt x="0" y="63287"/>
                    </a:cubicBezTo>
                    <a:lnTo>
                      <a:pt x="156718" y="63287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id="{FD00999B-5F53-4FF2-98C8-DD3B7F3B87B4}"/>
                  </a:ext>
                </a:extLst>
              </p:cNvPr>
              <p:cNvSpPr/>
              <p:nvPr/>
            </p:nvSpPr>
            <p:spPr>
              <a:xfrm>
                <a:off x="10517149" y="6471318"/>
                <a:ext cx="123882" cy="156417"/>
              </a:xfrm>
              <a:custGeom>
                <a:avLst/>
                <a:gdLst>
                  <a:gd name="connsiteX0" fmla="*/ 74034 w 123882"/>
                  <a:gd name="connsiteY0" fmla="*/ 63287 h 156417"/>
                  <a:gd name="connsiteX1" fmla="*/ 38524 w 123882"/>
                  <a:gd name="connsiteY1" fmla="*/ 44782 h 156417"/>
                  <a:gd name="connsiteX2" fmla="*/ 61211 w 123882"/>
                  <a:gd name="connsiteY2" fmla="*/ 31643 h 156417"/>
                  <a:gd name="connsiteX3" fmla="*/ 92855 w 123882"/>
                  <a:gd name="connsiteY3" fmla="*/ 50456 h 156417"/>
                  <a:gd name="connsiteX4" fmla="*/ 120916 w 123882"/>
                  <a:gd name="connsiteY4" fmla="*/ 33143 h 156417"/>
                  <a:gd name="connsiteX5" fmla="*/ 61211 w 123882"/>
                  <a:gd name="connsiteY5" fmla="*/ 0 h 156417"/>
                  <a:gd name="connsiteX6" fmla="*/ 4490 w 123882"/>
                  <a:gd name="connsiteY6" fmla="*/ 45966 h 156417"/>
                  <a:gd name="connsiteX7" fmla="*/ 54946 w 123882"/>
                  <a:gd name="connsiteY7" fmla="*/ 91340 h 156417"/>
                  <a:gd name="connsiteX8" fmla="*/ 89272 w 123882"/>
                  <a:gd name="connsiteY8" fmla="*/ 110144 h 156417"/>
                  <a:gd name="connsiteX9" fmla="*/ 64194 w 123882"/>
                  <a:gd name="connsiteY9" fmla="*/ 124774 h 156417"/>
                  <a:gd name="connsiteX10" fmla="*/ 31359 w 123882"/>
                  <a:gd name="connsiteY10" fmla="*/ 102387 h 156417"/>
                  <a:gd name="connsiteX11" fmla="*/ 0 w 123882"/>
                  <a:gd name="connsiteY11" fmla="*/ 119700 h 156417"/>
                  <a:gd name="connsiteX12" fmla="*/ 63287 w 123882"/>
                  <a:gd name="connsiteY12" fmla="*/ 156418 h 156417"/>
                  <a:gd name="connsiteX13" fmla="*/ 123883 w 123882"/>
                  <a:gd name="connsiteY13" fmla="*/ 108953 h 156417"/>
                  <a:gd name="connsiteX14" fmla="*/ 74034 w 123882"/>
                  <a:gd name="connsiteY14" fmla="*/ 63287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3882" h="156417">
                    <a:moveTo>
                      <a:pt x="74034" y="63287"/>
                    </a:moveTo>
                    <a:cubicBezTo>
                      <a:pt x="48657" y="59404"/>
                      <a:pt x="38524" y="53439"/>
                      <a:pt x="38524" y="44782"/>
                    </a:cubicBezTo>
                    <a:cubicBezTo>
                      <a:pt x="38524" y="36125"/>
                      <a:pt x="49872" y="31643"/>
                      <a:pt x="61211" y="31643"/>
                    </a:cubicBezTo>
                    <a:cubicBezTo>
                      <a:pt x="73451" y="31643"/>
                      <a:pt x="86581" y="38217"/>
                      <a:pt x="92855" y="50456"/>
                    </a:cubicBezTo>
                    <a:lnTo>
                      <a:pt x="120916" y="33143"/>
                    </a:lnTo>
                    <a:cubicBezTo>
                      <a:pt x="109868" y="11647"/>
                      <a:pt x="90764" y="0"/>
                      <a:pt x="61211" y="0"/>
                    </a:cubicBezTo>
                    <a:cubicBezTo>
                      <a:pt x="30760" y="0"/>
                      <a:pt x="4490" y="18505"/>
                      <a:pt x="4490" y="45966"/>
                    </a:cubicBezTo>
                    <a:cubicBezTo>
                      <a:pt x="4490" y="71935"/>
                      <a:pt x="23003" y="86565"/>
                      <a:pt x="54946" y="91340"/>
                    </a:cubicBezTo>
                    <a:cubicBezTo>
                      <a:pt x="79124" y="95222"/>
                      <a:pt x="89272" y="100296"/>
                      <a:pt x="89272" y="110144"/>
                    </a:cubicBezTo>
                    <a:cubicBezTo>
                      <a:pt x="89272" y="118509"/>
                      <a:pt x="79716" y="124774"/>
                      <a:pt x="64194" y="124774"/>
                    </a:cubicBezTo>
                    <a:cubicBezTo>
                      <a:pt x="48972" y="124774"/>
                      <a:pt x="36733" y="114326"/>
                      <a:pt x="31359" y="102387"/>
                    </a:cubicBezTo>
                    <a:lnTo>
                      <a:pt x="0" y="119700"/>
                    </a:lnTo>
                    <a:cubicBezTo>
                      <a:pt x="8956" y="142387"/>
                      <a:pt x="33143" y="156418"/>
                      <a:pt x="63287" y="156418"/>
                    </a:cubicBezTo>
                    <a:cubicBezTo>
                      <a:pt x="97613" y="156418"/>
                      <a:pt x="123883" y="139104"/>
                      <a:pt x="123883" y="108953"/>
                    </a:cubicBezTo>
                    <a:cubicBezTo>
                      <a:pt x="123883" y="79708"/>
                      <a:pt x="104478" y="68069"/>
                      <a:pt x="74034" y="63287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id="{B3DE679C-70DC-4247-A294-21C563F73BFF}"/>
                  </a:ext>
                </a:extLst>
              </p:cNvPr>
              <p:cNvSpPr/>
              <p:nvPr/>
            </p:nvSpPr>
            <p:spPr>
              <a:xfrm>
                <a:off x="10653950" y="6471326"/>
                <a:ext cx="159100" cy="156417"/>
              </a:xfrm>
              <a:custGeom>
                <a:avLst/>
                <a:gdLst>
                  <a:gd name="connsiteX0" fmla="*/ 79400 w 159100"/>
                  <a:gd name="connsiteY0" fmla="*/ 0 h 156417"/>
                  <a:gd name="connsiteX1" fmla="*/ 0 w 159100"/>
                  <a:gd name="connsiteY1" fmla="*/ 78209 h 156417"/>
                  <a:gd name="connsiteX2" fmla="*/ 79400 w 159100"/>
                  <a:gd name="connsiteY2" fmla="*/ 156418 h 156417"/>
                  <a:gd name="connsiteX3" fmla="*/ 159101 w 159100"/>
                  <a:gd name="connsiteY3" fmla="*/ 78209 h 156417"/>
                  <a:gd name="connsiteX4" fmla="*/ 79400 w 159100"/>
                  <a:gd name="connsiteY4" fmla="*/ 0 h 156417"/>
                  <a:gd name="connsiteX5" fmla="*/ 79400 w 159100"/>
                  <a:gd name="connsiteY5" fmla="*/ 124174 h 156417"/>
                  <a:gd name="connsiteX6" fmla="*/ 35210 w 159100"/>
                  <a:gd name="connsiteY6" fmla="*/ 78209 h 156417"/>
                  <a:gd name="connsiteX7" fmla="*/ 79400 w 159100"/>
                  <a:gd name="connsiteY7" fmla="*/ 32235 h 156417"/>
                  <a:gd name="connsiteX8" fmla="*/ 123875 w 159100"/>
                  <a:gd name="connsiteY8" fmla="*/ 78209 h 156417"/>
                  <a:gd name="connsiteX9" fmla="*/ 79400 w 159100"/>
                  <a:gd name="connsiteY9" fmla="*/ 1241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9100" h="156417">
                    <a:moveTo>
                      <a:pt x="79400" y="0"/>
                    </a:moveTo>
                    <a:cubicBezTo>
                      <a:pt x="33727" y="0"/>
                      <a:pt x="0" y="32535"/>
                      <a:pt x="0" y="78209"/>
                    </a:cubicBezTo>
                    <a:cubicBezTo>
                      <a:pt x="0" y="123882"/>
                      <a:pt x="33727" y="156418"/>
                      <a:pt x="79400" y="156418"/>
                    </a:cubicBezTo>
                    <a:cubicBezTo>
                      <a:pt x="125374" y="156418"/>
                      <a:pt x="159101" y="123882"/>
                      <a:pt x="159101" y="78209"/>
                    </a:cubicBezTo>
                    <a:cubicBezTo>
                      <a:pt x="159101" y="32535"/>
                      <a:pt x="125374" y="0"/>
                      <a:pt x="79400" y="0"/>
                    </a:cubicBezTo>
                    <a:close/>
                    <a:moveTo>
                      <a:pt x="79400" y="124174"/>
                    </a:moveTo>
                    <a:cubicBezTo>
                      <a:pt x="53731" y="124174"/>
                      <a:pt x="35210" y="105370"/>
                      <a:pt x="35210" y="78209"/>
                    </a:cubicBezTo>
                    <a:cubicBezTo>
                      <a:pt x="35210" y="51048"/>
                      <a:pt x="53723" y="32235"/>
                      <a:pt x="79400" y="32235"/>
                    </a:cubicBezTo>
                    <a:cubicBezTo>
                      <a:pt x="105078" y="32235"/>
                      <a:pt x="123875" y="51040"/>
                      <a:pt x="123875" y="78209"/>
                    </a:cubicBezTo>
                    <a:cubicBezTo>
                      <a:pt x="123875" y="105378"/>
                      <a:pt x="105070" y="124174"/>
                      <a:pt x="79400" y="1241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EA45E461-ACC3-487C-920B-0B7B61EC5C1B}"/>
                  </a:ext>
                </a:extLst>
              </p:cNvPr>
              <p:cNvSpPr/>
              <p:nvPr/>
            </p:nvSpPr>
            <p:spPr>
              <a:xfrm>
                <a:off x="11540312" y="6471326"/>
                <a:ext cx="152274" cy="156417"/>
              </a:xfrm>
              <a:custGeom>
                <a:avLst/>
                <a:gdLst>
                  <a:gd name="connsiteX0" fmla="*/ 77017 w 152274"/>
                  <a:gd name="connsiteY0" fmla="*/ 0 h 156417"/>
                  <a:gd name="connsiteX1" fmla="*/ 0 w 152274"/>
                  <a:gd name="connsiteY1" fmla="*/ 78209 h 156417"/>
                  <a:gd name="connsiteX2" fmla="*/ 77017 w 152274"/>
                  <a:gd name="connsiteY2" fmla="*/ 156418 h 156417"/>
                  <a:gd name="connsiteX3" fmla="*/ 144179 w 152274"/>
                  <a:gd name="connsiteY3" fmla="*/ 125966 h 156417"/>
                  <a:gd name="connsiteX4" fmla="*/ 117349 w 152274"/>
                  <a:gd name="connsiteY4" fmla="*/ 105970 h 156417"/>
                  <a:gd name="connsiteX5" fmla="*/ 77049 w 152274"/>
                  <a:gd name="connsiteY5" fmla="*/ 125374 h 156417"/>
                  <a:gd name="connsiteX6" fmla="*/ 34958 w 152274"/>
                  <a:gd name="connsiteY6" fmla="*/ 88057 h 156417"/>
                  <a:gd name="connsiteX7" fmla="*/ 152275 w 152274"/>
                  <a:gd name="connsiteY7" fmla="*/ 88057 h 156417"/>
                  <a:gd name="connsiteX8" fmla="*/ 152275 w 152274"/>
                  <a:gd name="connsiteY8" fmla="*/ 75218 h 156417"/>
                  <a:gd name="connsiteX9" fmla="*/ 77017 w 152274"/>
                  <a:gd name="connsiteY9" fmla="*/ 0 h 156417"/>
                  <a:gd name="connsiteX10" fmla="*/ 36717 w 152274"/>
                  <a:gd name="connsiteY10" fmla="*/ 59720 h 156417"/>
                  <a:gd name="connsiteX11" fmla="*/ 77017 w 152274"/>
                  <a:gd name="connsiteY11" fmla="*/ 29868 h 156417"/>
                  <a:gd name="connsiteX12" fmla="*/ 117017 w 152274"/>
                  <a:gd name="connsiteY12" fmla="*/ 59720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2274" h="156417">
                    <a:moveTo>
                      <a:pt x="77017" y="0"/>
                    </a:moveTo>
                    <a:cubicBezTo>
                      <a:pt x="31343" y="0"/>
                      <a:pt x="0" y="32535"/>
                      <a:pt x="0" y="78209"/>
                    </a:cubicBezTo>
                    <a:cubicBezTo>
                      <a:pt x="0" y="123882"/>
                      <a:pt x="31343" y="156418"/>
                      <a:pt x="77017" y="156418"/>
                    </a:cubicBezTo>
                    <a:cubicBezTo>
                      <a:pt x="110452" y="156418"/>
                      <a:pt x="129257" y="145070"/>
                      <a:pt x="144179" y="125966"/>
                    </a:cubicBezTo>
                    <a:lnTo>
                      <a:pt x="117349" y="105970"/>
                    </a:lnTo>
                    <a:cubicBezTo>
                      <a:pt x="108392" y="117609"/>
                      <a:pt x="96753" y="125374"/>
                      <a:pt x="77049" y="125374"/>
                    </a:cubicBezTo>
                    <a:cubicBezTo>
                      <a:pt x="54062" y="125374"/>
                      <a:pt x="38240" y="110444"/>
                      <a:pt x="34958" y="88057"/>
                    </a:cubicBezTo>
                    <a:lnTo>
                      <a:pt x="152275" y="88057"/>
                    </a:lnTo>
                    <a:lnTo>
                      <a:pt x="152275" y="75218"/>
                    </a:lnTo>
                    <a:cubicBezTo>
                      <a:pt x="152243" y="31044"/>
                      <a:pt x="121791" y="0"/>
                      <a:pt x="77017" y="0"/>
                    </a:cubicBezTo>
                    <a:close/>
                    <a:moveTo>
                      <a:pt x="36717" y="59720"/>
                    </a:moveTo>
                    <a:cubicBezTo>
                      <a:pt x="42691" y="41815"/>
                      <a:pt x="57013" y="29868"/>
                      <a:pt x="77017" y="29868"/>
                    </a:cubicBezTo>
                    <a:cubicBezTo>
                      <a:pt x="98513" y="29868"/>
                      <a:pt x="112527" y="43283"/>
                      <a:pt x="117017" y="59720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37518CC7-5E1D-4916-B45E-E937315439EF}"/>
                  </a:ext>
                </a:extLst>
              </p:cNvPr>
              <p:cNvSpPr/>
              <p:nvPr/>
            </p:nvSpPr>
            <p:spPr>
              <a:xfrm>
                <a:off x="11711644" y="6474900"/>
                <a:ext cx="60311" cy="57912"/>
              </a:xfrm>
              <a:custGeom>
                <a:avLst/>
                <a:gdLst>
                  <a:gd name="connsiteX0" fmla="*/ 23894 w 60311"/>
                  <a:gd name="connsiteY0" fmla="*/ 0 h 57912"/>
                  <a:gd name="connsiteX1" fmla="*/ 0 w 60311"/>
                  <a:gd name="connsiteY1" fmla="*/ 57913 h 57912"/>
                  <a:gd name="connsiteX2" fmla="*/ 13415 w 60311"/>
                  <a:gd name="connsiteY2" fmla="*/ 57913 h 57912"/>
                  <a:gd name="connsiteX3" fmla="*/ 18489 w 60311"/>
                  <a:gd name="connsiteY3" fmla="*/ 44782 h 57912"/>
                  <a:gd name="connsiteX4" fmla="*/ 41823 w 60311"/>
                  <a:gd name="connsiteY4" fmla="*/ 44782 h 57912"/>
                  <a:gd name="connsiteX5" fmla="*/ 46897 w 60311"/>
                  <a:gd name="connsiteY5" fmla="*/ 57913 h 57912"/>
                  <a:gd name="connsiteX6" fmla="*/ 60312 w 60311"/>
                  <a:gd name="connsiteY6" fmla="*/ 57913 h 57912"/>
                  <a:gd name="connsiteX7" fmla="*/ 36433 w 60311"/>
                  <a:gd name="connsiteY7" fmla="*/ 0 h 57912"/>
                  <a:gd name="connsiteX8" fmla="*/ 22703 w 60311"/>
                  <a:gd name="connsiteY8" fmla="*/ 34050 h 57912"/>
                  <a:gd name="connsiteX9" fmla="*/ 30160 w 60311"/>
                  <a:gd name="connsiteY9" fmla="*/ 14322 h 57912"/>
                  <a:gd name="connsiteX10" fmla="*/ 37625 w 60311"/>
                  <a:gd name="connsiteY10" fmla="*/ 34050 h 5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311" h="57912">
                    <a:moveTo>
                      <a:pt x="23894" y="0"/>
                    </a:moveTo>
                    <a:lnTo>
                      <a:pt x="0" y="57913"/>
                    </a:lnTo>
                    <a:lnTo>
                      <a:pt x="13415" y="57913"/>
                    </a:lnTo>
                    <a:lnTo>
                      <a:pt x="18489" y="44782"/>
                    </a:lnTo>
                    <a:lnTo>
                      <a:pt x="41823" y="44782"/>
                    </a:lnTo>
                    <a:lnTo>
                      <a:pt x="46897" y="57913"/>
                    </a:lnTo>
                    <a:lnTo>
                      <a:pt x="60312" y="57913"/>
                    </a:lnTo>
                    <a:lnTo>
                      <a:pt x="36433" y="0"/>
                    </a:lnTo>
                    <a:close/>
                    <a:moveTo>
                      <a:pt x="22703" y="34050"/>
                    </a:moveTo>
                    <a:lnTo>
                      <a:pt x="30160" y="14322"/>
                    </a:lnTo>
                    <a:lnTo>
                      <a:pt x="37625" y="34050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ED4B97B2-9959-4CB2-950C-3D04E712929C}"/>
                  </a:ext>
                </a:extLst>
              </p:cNvPr>
              <p:cNvSpPr/>
              <p:nvPr/>
            </p:nvSpPr>
            <p:spPr>
              <a:xfrm>
                <a:off x="10815252" y="6415204"/>
                <a:ext cx="211639" cy="208956"/>
              </a:xfrm>
              <a:custGeom>
                <a:avLst/>
                <a:gdLst>
                  <a:gd name="connsiteX0" fmla="*/ 169848 w 211639"/>
                  <a:gd name="connsiteY0" fmla="*/ 15522 h 208956"/>
                  <a:gd name="connsiteX1" fmla="*/ 135814 w 211639"/>
                  <a:gd name="connsiteY1" fmla="*/ 15522 h 208956"/>
                  <a:gd name="connsiteX2" fmla="*/ 135814 w 211639"/>
                  <a:gd name="connsiteY2" fmla="*/ 59712 h 208956"/>
                  <a:gd name="connsiteX3" fmla="*/ 65070 w 211639"/>
                  <a:gd name="connsiteY3" fmla="*/ 59712 h 208956"/>
                  <a:gd name="connsiteX4" fmla="*/ 65070 w 211639"/>
                  <a:gd name="connsiteY4" fmla="*/ 31935 h 208956"/>
                  <a:gd name="connsiteX5" fmla="*/ 106270 w 211639"/>
                  <a:gd name="connsiteY5" fmla="*/ 31935 h 208956"/>
                  <a:gd name="connsiteX6" fmla="*/ 106270 w 211639"/>
                  <a:gd name="connsiteY6" fmla="*/ 0 h 208956"/>
                  <a:gd name="connsiteX7" fmla="*/ 63579 w 211639"/>
                  <a:gd name="connsiteY7" fmla="*/ 0 h 208956"/>
                  <a:gd name="connsiteX8" fmla="*/ 31044 w 211639"/>
                  <a:gd name="connsiteY8" fmla="*/ 31935 h 208956"/>
                  <a:gd name="connsiteX9" fmla="*/ 31044 w 211639"/>
                  <a:gd name="connsiteY9" fmla="*/ 59696 h 208956"/>
                  <a:gd name="connsiteX10" fmla="*/ 0 w 211639"/>
                  <a:gd name="connsiteY10" fmla="*/ 59696 h 208956"/>
                  <a:gd name="connsiteX11" fmla="*/ 0 w 211639"/>
                  <a:gd name="connsiteY11" fmla="*/ 91639 h 208956"/>
                  <a:gd name="connsiteX12" fmla="*/ 31044 w 211639"/>
                  <a:gd name="connsiteY12" fmla="*/ 91639 h 208956"/>
                  <a:gd name="connsiteX13" fmla="*/ 31044 w 211639"/>
                  <a:gd name="connsiteY13" fmla="*/ 208956 h 208956"/>
                  <a:gd name="connsiteX14" fmla="*/ 65070 w 211639"/>
                  <a:gd name="connsiteY14" fmla="*/ 208956 h 208956"/>
                  <a:gd name="connsiteX15" fmla="*/ 65070 w 211639"/>
                  <a:gd name="connsiteY15" fmla="*/ 91639 h 208956"/>
                  <a:gd name="connsiteX16" fmla="*/ 135814 w 211639"/>
                  <a:gd name="connsiteY16" fmla="*/ 91639 h 208956"/>
                  <a:gd name="connsiteX17" fmla="*/ 135814 w 211639"/>
                  <a:gd name="connsiteY17" fmla="*/ 176713 h 208956"/>
                  <a:gd name="connsiteX18" fmla="*/ 168357 w 211639"/>
                  <a:gd name="connsiteY18" fmla="*/ 208956 h 208956"/>
                  <a:gd name="connsiteX19" fmla="*/ 211640 w 211639"/>
                  <a:gd name="connsiteY19" fmla="*/ 208956 h 208956"/>
                  <a:gd name="connsiteX20" fmla="*/ 211640 w 211639"/>
                  <a:gd name="connsiteY20" fmla="*/ 176713 h 208956"/>
                  <a:gd name="connsiteX21" fmla="*/ 169817 w 211639"/>
                  <a:gd name="connsiteY21" fmla="*/ 176713 h 208956"/>
                  <a:gd name="connsiteX22" fmla="*/ 169817 w 211639"/>
                  <a:gd name="connsiteY22" fmla="*/ 91639 h 208956"/>
                  <a:gd name="connsiteX23" fmla="*/ 211640 w 211639"/>
                  <a:gd name="connsiteY23" fmla="*/ 91639 h 208956"/>
                  <a:gd name="connsiteX24" fmla="*/ 211640 w 211639"/>
                  <a:gd name="connsiteY24" fmla="*/ 59696 h 208956"/>
                  <a:gd name="connsiteX25" fmla="*/ 169817 w 211639"/>
                  <a:gd name="connsiteY25" fmla="*/ 59696 h 20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1639" h="208956">
                    <a:moveTo>
                      <a:pt x="169848" y="15522"/>
                    </a:moveTo>
                    <a:lnTo>
                      <a:pt x="135814" y="15522"/>
                    </a:lnTo>
                    <a:lnTo>
                      <a:pt x="135814" y="59712"/>
                    </a:lnTo>
                    <a:lnTo>
                      <a:pt x="65070" y="59712"/>
                    </a:lnTo>
                    <a:lnTo>
                      <a:pt x="65070" y="31935"/>
                    </a:lnTo>
                    <a:lnTo>
                      <a:pt x="106270" y="31935"/>
                    </a:lnTo>
                    <a:lnTo>
                      <a:pt x="106270" y="0"/>
                    </a:lnTo>
                    <a:lnTo>
                      <a:pt x="63579" y="0"/>
                    </a:lnTo>
                    <a:cubicBezTo>
                      <a:pt x="42683" y="0"/>
                      <a:pt x="31044" y="11340"/>
                      <a:pt x="31044" y="31935"/>
                    </a:cubicBezTo>
                    <a:lnTo>
                      <a:pt x="31044" y="59696"/>
                    </a:lnTo>
                    <a:lnTo>
                      <a:pt x="0" y="59696"/>
                    </a:lnTo>
                    <a:lnTo>
                      <a:pt x="0" y="91639"/>
                    </a:lnTo>
                    <a:lnTo>
                      <a:pt x="31044" y="91639"/>
                    </a:lnTo>
                    <a:lnTo>
                      <a:pt x="31044" y="208956"/>
                    </a:lnTo>
                    <a:lnTo>
                      <a:pt x="65070" y="208956"/>
                    </a:lnTo>
                    <a:lnTo>
                      <a:pt x="65070" y="91639"/>
                    </a:lnTo>
                    <a:lnTo>
                      <a:pt x="135814" y="91639"/>
                    </a:lnTo>
                    <a:lnTo>
                      <a:pt x="135814" y="176713"/>
                    </a:lnTo>
                    <a:cubicBezTo>
                      <a:pt x="135814" y="197609"/>
                      <a:pt x="147161" y="208956"/>
                      <a:pt x="168357" y="208956"/>
                    </a:cubicBezTo>
                    <a:lnTo>
                      <a:pt x="211640" y="208956"/>
                    </a:lnTo>
                    <a:lnTo>
                      <a:pt x="211640" y="176713"/>
                    </a:lnTo>
                    <a:lnTo>
                      <a:pt x="169817" y="176713"/>
                    </a:lnTo>
                    <a:lnTo>
                      <a:pt x="169817" y="91639"/>
                    </a:lnTo>
                    <a:lnTo>
                      <a:pt x="211640" y="91639"/>
                    </a:lnTo>
                    <a:lnTo>
                      <a:pt x="211640" y="59696"/>
                    </a:lnTo>
                    <a:lnTo>
                      <a:pt x="169817" y="59696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B954DF21-2A16-4E3F-9529-FE504F1FB1CB}"/>
                  </a:ext>
                </a:extLst>
              </p:cNvPr>
              <p:cNvSpPr/>
              <p:nvPr/>
            </p:nvSpPr>
            <p:spPr>
              <a:xfrm>
                <a:off x="11773447" y="6474009"/>
                <a:ext cx="57313" cy="59704"/>
              </a:xfrm>
              <a:custGeom>
                <a:avLst/>
                <a:gdLst>
                  <a:gd name="connsiteX0" fmla="*/ 26270 w 57313"/>
                  <a:gd name="connsiteY0" fmla="*/ 28361 h 59704"/>
                  <a:gd name="connsiteX1" fmla="*/ 26270 w 57313"/>
                  <a:gd name="connsiteY1" fmla="*/ 37909 h 59704"/>
                  <a:gd name="connsiteX2" fmla="*/ 44774 w 57313"/>
                  <a:gd name="connsiteY2" fmla="*/ 37909 h 59704"/>
                  <a:gd name="connsiteX3" fmla="*/ 29552 w 57313"/>
                  <a:gd name="connsiteY3" fmla="*/ 48657 h 59704"/>
                  <a:gd name="connsiteX4" fmla="*/ 11639 w 57313"/>
                  <a:gd name="connsiteY4" fmla="*/ 29852 h 59704"/>
                  <a:gd name="connsiteX5" fmla="*/ 29252 w 57313"/>
                  <a:gd name="connsiteY5" fmla="*/ 11048 h 59704"/>
                  <a:gd name="connsiteX6" fmla="*/ 44182 w 57313"/>
                  <a:gd name="connsiteY6" fmla="*/ 18805 h 59704"/>
                  <a:gd name="connsiteX7" fmla="*/ 54031 w 57313"/>
                  <a:gd name="connsiteY7" fmla="*/ 12239 h 59704"/>
                  <a:gd name="connsiteX8" fmla="*/ 29252 w 57313"/>
                  <a:gd name="connsiteY8" fmla="*/ 0 h 59704"/>
                  <a:gd name="connsiteX9" fmla="*/ 0 w 57313"/>
                  <a:gd name="connsiteY9" fmla="*/ 29852 h 59704"/>
                  <a:gd name="connsiteX10" fmla="*/ 29252 w 57313"/>
                  <a:gd name="connsiteY10" fmla="*/ 59704 h 59704"/>
                  <a:gd name="connsiteX11" fmla="*/ 57313 w 57313"/>
                  <a:gd name="connsiteY11" fmla="*/ 31643 h 59704"/>
                  <a:gd name="connsiteX12" fmla="*/ 57313 w 57313"/>
                  <a:gd name="connsiteY12" fmla="*/ 28361 h 5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313" h="59704">
                    <a:moveTo>
                      <a:pt x="26270" y="28361"/>
                    </a:moveTo>
                    <a:lnTo>
                      <a:pt x="26270" y="37909"/>
                    </a:lnTo>
                    <a:lnTo>
                      <a:pt x="44774" y="37909"/>
                    </a:lnTo>
                    <a:cubicBezTo>
                      <a:pt x="42691" y="43882"/>
                      <a:pt x="38209" y="48657"/>
                      <a:pt x="29552" y="48657"/>
                    </a:cubicBezTo>
                    <a:cubicBezTo>
                      <a:pt x="18805" y="48657"/>
                      <a:pt x="11639" y="40300"/>
                      <a:pt x="11639" y="29852"/>
                    </a:cubicBezTo>
                    <a:cubicBezTo>
                      <a:pt x="11639" y="19404"/>
                      <a:pt x="19104" y="11048"/>
                      <a:pt x="29252" y="11048"/>
                    </a:cubicBezTo>
                    <a:cubicBezTo>
                      <a:pt x="37017" y="11048"/>
                      <a:pt x="41491" y="14630"/>
                      <a:pt x="44182" y="18805"/>
                    </a:cubicBezTo>
                    <a:lnTo>
                      <a:pt x="54031" y="12239"/>
                    </a:lnTo>
                    <a:cubicBezTo>
                      <a:pt x="49556" y="4774"/>
                      <a:pt x="40900" y="0"/>
                      <a:pt x="29252" y="0"/>
                    </a:cubicBezTo>
                    <a:cubicBezTo>
                      <a:pt x="12539" y="0"/>
                      <a:pt x="0" y="13415"/>
                      <a:pt x="0" y="29852"/>
                    </a:cubicBezTo>
                    <a:cubicBezTo>
                      <a:pt x="0" y="46289"/>
                      <a:pt x="11939" y="59704"/>
                      <a:pt x="29252" y="59704"/>
                    </a:cubicBezTo>
                    <a:cubicBezTo>
                      <a:pt x="45974" y="59704"/>
                      <a:pt x="57313" y="48057"/>
                      <a:pt x="57313" y="31643"/>
                    </a:cubicBezTo>
                    <a:lnTo>
                      <a:pt x="57313" y="28361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id="{80B925A3-36A6-4FB0-AB5A-BDD011D7AF1A}"/>
                  </a:ext>
                </a:extLst>
              </p:cNvPr>
              <p:cNvSpPr/>
              <p:nvPr/>
            </p:nvSpPr>
            <p:spPr>
              <a:xfrm>
                <a:off x="11444758" y="6474900"/>
                <a:ext cx="90447" cy="149260"/>
              </a:xfrm>
              <a:custGeom>
                <a:avLst/>
                <a:gdLst>
                  <a:gd name="connsiteX0" fmla="*/ 0 w 90447"/>
                  <a:gd name="connsiteY0" fmla="*/ 32243 h 149260"/>
                  <a:gd name="connsiteX1" fmla="*/ 0 w 90447"/>
                  <a:gd name="connsiteY1" fmla="*/ 149260 h 149260"/>
                  <a:gd name="connsiteX2" fmla="*/ 34026 w 90447"/>
                  <a:gd name="connsiteY2" fmla="*/ 149260 h 149260"/>
                  <a:gd name="connsiteX3" fmla="*/ 34026 w 90447"/>
                  <a:gd name="connsiteY3" fmla="*/ 32243 h 149260"/>
                  <a:gd name="connsiteX4" fmla="*/ 90448 w 90447"/>
                  <a:gd name="connsiteY4" fmla="*/ 32243 h 149260"/>
                  <a:gd name="connsiteX5" fmla="*/ 90448 w 90447"/>
                  <a:gd name="connsiteY5" fmla="*/ 0 h 149260"/>
                  <a:gd name="connsiteX6" fmla="*/ 32519 w 90447"/>
                  <a:gd name="connsiteY6" fmla="*/ 0 h 149260"/>
                  <a:gd name="connsiteX7" fmla="*/ 0 w 90447"/>
                  <a:gd name="connsiteY7" fmla="*/ 32243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7" h="149260">
                    <a:moveTo>
                      <a:pt x="0" y="32243"/>
                    </a:moveTo>
                    <a:lnTo>
                      <a:pt x="0" y="149260"/>
                    </a:lnTo>
                    <a:lnTo>
                      <a:pt x="34026" y="149260"/>
                    </a:lnTo>
                    <a:lnTo>
                      <a:pt x="34026" y="32243"/>
                    </a:lnTo>
                    <a:lnTo>
                      <a:pt x="90448" y="32243"/>
                    </a:lnTo>
                    <a:lnTo>
                      <a:pt x="90448" y="0"/>
                    </a:lnTo>
                    <a:lnTo>
                      <a:pt x="32519" y="0"/>
                    </a:lnTo>
                    <a:cubicBezTo>
                      <a:pt x="11340" y="0"/>
                      <a:pt x="0" y="11347"/>
                      <a:pt x="0" y="32243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id="{0AD4E60C-96B1-43ED-91BD-358820640914}"/>
                  </a:ext>
                </a:extLst>
              </p:cNvPr>
              <p:cNvSpPr/>
              <p:nvPr/>
            </p:nvSpPr>
            <p:spPr>
              <a:xfrm>
                <a:off x="11037939" y="6474900"/>
                <a:ext cx="225078" cy="149260"/>
              </a:xfrm>
              <a:custGeom>
                <a:avLst/>
                <a:gdLst>
                  <a:gd name="connsiteX0" fmla="*/ 160600 w 225078"/>
                  <a:gd name="connsiteY0" fmla="*/ 100004 h 149260"/>
                  <a:gd name="connsiteX1" fmla="*/ 132539 w 225078"/>
                  <a:gd name="connsiteY1" fmla="*/ 0 h 149260"/>
                  <a:gd name="connsiteX2" fmla="*/ 92539 w 225078"/>
                  <a:gd name="connsiteY2" fmla="*/ 0 h 149260"/>
                  <a:gd name="connsiteX3" fmla="*/ 64478 w 225078"/>
                  <a:gd name="connsiteY3" fmla="*/ 100004 h 149260"/>
                  <a:gd name="connsiteX4" fmla="*/ 37009 w 225078"/>
                  <a:gd name="connsiteY4" fmla="*/ 0 h 149260"/>
                  <a:gd name="connsiteX5" fmla="*/ 0 w 225078"/>
                  <a:gd name="connsiteY5" fmla="*/ 0 h 149260"/>
                  <a:gd name="connsiteX6" fmla="*/ 44774 w 225078"/>
                  <a:gd name="connsiteY6" fmla="*/ 149260 h 149260"/>
                  <a:gd name="connsiteX7" fmla="*/ 81791 w 225078"/>
                  <a:gd name="connsiteY7" fmla="*/ 149260 h 149260"/>
                  <a:gd name="connsiteX8" fmla="*/ 112535 w 225078"/>
                  <a:gd name="connsiteY8" fmla="*/ 40900 h 149260"/>
                  <a:gd name="connsiteX9" fmla="*/ 143287 w 225078"/>
                  <a:gd name="connsiteY9" fmla="*/ 149260 h 149260"/>
                  <a:gd name="connsiteX10" fmla="*/ 180296 w 225078"/>
                  <a:gd name="connsiteY10" fmla="*/ 149260 h 149260"/>
                  <a:gd name="connsiteX11" fmla="*/ 225078 w 225078"/>
                  <a:gd name="connsiteY11" fmla="*/ 0 h 149260"/>
                  <a:gd name="connsiteX12" fmla="*/ 188361 w 225078"/>
                  <a:gd name="connsiteY12" fmla="*/ 0 h 149260"/>
                  <a:gd name="connsiteX13" fmla="*/ 160600 w 225078"/>
                  <a:gd name="connsiteY13" fmla="*/ 100004 h 149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078" h="149260">
                    <a:moveTo>
                      <a:pt x="160600" y="100004"/>
                    </a:moveTo>
                    <a:lnTo>
                      <a:pt x="132539" y="0"/>
                    </a:lnTo>
                    <a:lnTo>
                      <a:pt x="92539" y="0"/>
                    </a:lnTo>
                    <a:lnTo>
                      <a:pt x="64478" y="100004"/>
                    </a:lnTo>
                    <a:lnTo>
                      <a:pt x="37009" y="0"/>
                    </a:lnTo>
                    <a:lnTo>
                      <a:pt x="0" y="0"/>
                    </a:lnTo>
                    <a:lnTo>
                      <a:pt x="44774" y="149260"/>
                    </a:lnTo>
                    <a:lnTo>
                      <a:pt x="81791" y="149260"/>
                    </a:lnTo>
                    <a:lnTo>
                      <a:pt x="112535" y="40900"/>
                    </a:lnTo>
                    <a:lnTo>
                      <a:pt x="143287" y="149260"/>
                    </a:lnTo>
                    <a:lnTo>
                      <a:pt x="180296" y="149260"/>
                    </a:lnTo>
                    <a:lnTo>
                      <a:pt x="225078" y="0"/>
                    </a:lnTo>
                    <a:lnTo>
                      <a:pt x="188361" y="0"/>
                    </a:lnTo>
                    <a:lnTo>
                      <a:pt x="160600" y="100004"/>
                    </a:ln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81" name="Freeform: Shape 180">
                <a:extLst>
                  <a:ext uri="{FF2B5EF4-FFF2-40B4-BE49-F238E27FC236}">
                    <a16:creationId xmlns:a16="http://schemas.microsoft.com/office/drawing/2014/main" id="{ECC97373-6CF6-4275-B6E0-7E080C8FF6A3}"/>
                  </a:ext>
                </a:extLst>
              </p:cNvPr>
              <p:cNvSpPr/>
              <p:nvPr/>
            </p:nvSpPr>
            <p:spPr>
              <a:xfrm>
                <a:off x="11264927" y="6471326"/>
                <a:ext cx="153166" cy="156417"/>
              </a:xfrm>
              <a:custGeom>
                <a:avLst/>
                <a:gdLst>
                  <a:gd name="connsiteX0" fmla="*/ 119108 w 153166"/>
                  <a:gd name="connsiteY0" fmla="*/ 19996 h 156417"/>
                  <a:gd name="connsiteX1" fmla="*/ 74334 w 153166"/>
                  <a:gd name="connsiteY1" fmla="*/ 0 h 156417"/>
                  <a:gd name="connsiteX2" fmla="*/ 0 w 153166"/>
                  <a:gd name="connsiteY2" fmla="*/ 78209 h 156417"/>
                  <a:gd name="connsiteX3" fmla="*/ 74334 w 153166"/>
                  <a:gd name="connsiteY3" fmla="*/ 156418 h 156417"/>
                  <a:gd name="connsiteX4" fmla="*/ 119108 w 153166"/>
                  <a:gd name="connsiteY4" fmla="*/ 135822 h 156417"/>
                  <a:gd name="connsiteX5" fmla="*/ 119108 w 153166"/>
                  <a:gd name="connsiteY5" fmla="*/ 152835 h 156417"/>
                  <a:gd name="connsiteX6" fmla="*/ 153167 w 153166"/>
                  <a:gd name="connsiteY6" fmla="*/ 152835 h 156417"/>
                  <a:gd name="connsiteX7" fmla="*/ 153167 w 153166"/>
                  <a:gd name="connsiteY7" fmla="*/ 3575 h 156417"/>
                  <a:gd name="connsiteX8" fmla="*/ 119140 w 153166"/>
                  <a:gd name="connsiteY8" fmla="*/ 3575 h 156417"/>
                  <a:gd name="connsiteX9" fmla="*/ 77909 w 153166"/>
                  <a:gd name="connsiteY9" fmla="*/ 124474 h 156417"/>
                  <a:gd name="connsiteX10" fmla="*/ 34926 w 153166"/>
                  <a:gd name="connsiteY10" fmla="*/ 78209 h 156417"/>
                  <a:gd name="connsiteX11" fmla="*/ 77909 w 153166"/>
                  <a:gd name="connsiteY11" fmla="*/ 31935 h 156417"/>
                  <a:gd name="connsiteX12" fmla="*/ 120900 w 153166"/>
                  <a:gd name="connsiteY12" fmla="*/ 78209 h 156417"/>
                  <a:gd name="connsiteX13" fmla="*/ 77909 w 153166"/>
                  <a:gd name="connsiteY13" fmla="*/ 124474 h 156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166" h="156417">
                    <a:moveTo>
                      <a:pt x="119108" y="19996"/>
                    </a:moveTo>
                    <a:cubicBezTo>
                      <a:pt x="110752" y="8057"/>
                      <a:pt x="95230" y="0"/>
                      <a:pt x="74334" y="0"/>
                    </a:cubicBezTo>
                    <a:cubicBezTo>
                      <a:pt x="31044" y="0"/>
                      <a:pt x="0" y="32235"/>
                      <a:pt x="0" y="78209"/>
                    </a:cubicBezTo>
                    <a:cubicBezTo>
                      <a:pt x="0" y="124182"/>
                      <a:pt x="31044" y="156418"/>
                      <a:pt x="74334" y="156418"/>
                    </a:cubicBezTo>
                    <a:cubicBezTo>
                      <a:pt x="97313" y="156418"/>
                      <a:pt x="110752" y="147161"/>
                      <a:pt x="119108" y="135822"/>
                    </a:cubicBezTo>
                    <a:lnTo>
                      <a:pt x="119108" y="152835"/>
                    </a:lnTo>
                    <a:lnTo>
                      <a:pt x="153167" y="152835"/>
                    </a:lnTo>
                    <a:lnTo>
                      <a:pt x="153167" y="3575"/>
                    </a:lnTo>
                    <a:lnTo>
                      <a:pt x="119140" y="3575"/>
                    </a:lnTo>
                    <a:close/>
                    <a:moveTo>
                      <a:pt x="77909" y="124474"/>
                    </a:moveTo>
                    <a:cubicBezTo>
                      <a:pt x="52539" y="124474"/>
                      <a:pt x="34926" y="105970"/>
                      <a:pt x="34926" y="78209"/>
                    </a:cubicBezTo>
                    <a:cubicBezTo>
                      <a:pt x="34926" y="50448"/>
                      <a:pt x="52539" y="31935"/>
                      <a:pt x="77909" y="31935"/>
                    </a:cubicBezTo>
                    <a:cubicBezTo>
                      <a:pt x="103279" y="31935"/>
                      <a:pt x="120900" y="50448"/>
                      <a:pt x="120900" y="78209"/>
                    </a:cubicBezTo>
                    <a:cubicBezTo>
                      <a:pt x="120900" y="105970"/>
                      <a:pt x="103287" y="124474"/>
                      <a:pt x="77909" y="124474"/>
                    </a:cubicBezTo>
                    <a:close/>
                  </a:path>
                </a:pathLst>
              </a:custGeom>
              <a:solidFill>
                <a:schemeClr val="tx1"/>
              </a:solidFill>
              <a:ln w="7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4A1C1022-82F3-7C4B-A1BE-194C10F219D6}" type="datetime1">
              <a:rPr lang="de-DE" smtClean="0"/>
              <a:t>20.02.24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>
            <p:custDataLst>
              <p:custData r:id="rId20"/>
              <p:custData r:id="rId21"/>
              <p:custData r:id="rId22"/>
              <p:tags r:id="rId23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lvl="0"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>
            <p:custDataLst>
              <p:custData r:id="rId20"/>
              <p:custData r:id="rId21"/>
              <p:custData r:id="rId22"/>
              <p:tags r:id="rId24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66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67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68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69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70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71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72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73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74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75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76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77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78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79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80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81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82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83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84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85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86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87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88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>
            <p:custDataLst>
              <p:custData r:id="rId20"/>
              <p:custData r:id="rId21"/>
              <p:custData r:id="rId22"/>
              <p:tags r:id="rId25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28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29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30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31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32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33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34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35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36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37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38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39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40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41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42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43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44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45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46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47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48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49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50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51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52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53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54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55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56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57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58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59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60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61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62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63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64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custData r:id="rId20"/>
                <p:custData r:id="rId21"/>
                <p:custData r:id="rId22"/>
                <p:tags r:id="rId65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>
            <p:custDataLst>
              <p:custData r:id="rId20"/>
              <p:custData r:id="rId21"/>
              <p:custData r:id="rId22"/>
              <p:tags r:id="rId26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>
            <p:custDataLst>
              <p:custData r:id="rId20"/>
              <p:custData r:id="rId21"/>
              <p:custData r:id="rId22"/>
              <p:tags r:id="rId2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lvl="0" algn="ctr" defTabSz="97200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150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125000"/>
        <a:buFont typeface="Segoe UI" panose="020B0502040204020203" pitchFamily="34" charset="0"/>
        <a:buChar char="▪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Segoe UI" panose="020B0502040204020203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125000"/>
        <a:buFont typeface="Segoe UI" panose="020B0502040204020203" pitchFamily="34" charset="0"/>
        <a:buChar char="▪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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00000"/>
        <a:buFont typeface="Segoe UI" panose="020B0502040204020203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1.jpg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webmethods.io/integration/apis/webmethods_api_ref/#reference-data-apis" TargetMode="External"/><Relationship Id="rId2" Type="http://schemas.openxmlformats.org/officeDocument/2006/relationships/hyperlink" Target="https://github.com/SoftwareAG/webmethods_io_int_cicd" TargetMode="Externa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github.com/SoftwareAG/webmethods-io-integration-apicli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5.emf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95.xml"/><Relationship Id="rId6" Type="http://schemas.openxmlformats.org/officeDocument/2006/relationships/image" Target="../media/image8.png"/><Relationship Id="rId11" Type="http://schemas.openxmlformats.org/officeDocument/2006/relationships/image" Target="../media/image13.gif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ulse-1" descr="Background pattern&#10;&#10;Description automatically generated">
            <a:extLst>
              <a:ext uri="{FF2B5EF4-FFF2-40B4-BE49-F238E27FC236}">
                <a16:creationId xmlns:a16="http://schemas.microsoft.com/office/drawing/2014/main" id="{0BE2E2B0-07C1-4D5E-985E-D2EDA1493565}"/>
              </a:ext>
            </a:extLst>
          </p:cNvPr>
          <p:cNvPicPr>
            <a:picLocks noGrp="1" noChangeAspect="1"/>
          </p:cNvPicPr>
          <p:nvPr>
            <p:ph type="pic" sz="quarter" idx="31"/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A44D963B-36F1-4D2F-8267-48A800EE93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DE" dirty="0"/>
              <a:t>DevOps 4 webMethods.io Integratio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F01D525-322D-4FA5-BD12-414139DAEB02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 dirty="0"/>
              <a:t>Srinivasan Sabapathy, Senior </a:t>
            </a:r>
            <a:r>
              <a:rPr lang="de-DE" dirty="0" err="1"/>
              <a:t>Principal</a:t>
            </a:r>
            <a:r>
              <a:rPr lang="de-DE" dirty="0"/>
              <a:t> Consultant, Professional Services | Austria | </a:t>
            </a:r>
            <a:r>
              <a:rPr lang="de-DE" dirty="0" err="1"/>
              <a:t>October</a:t>
            </a:r>
            <a:r>
              <a:rPr lang="de-DE" dirty="0"/>
              <a:t> 16 2023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3A43D4E3-C528-46D8-BD78-6B54A249678C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F50A323F-26A1-47A2-B400-AA8D3FDB877D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16" name="Subtitle 15">
            <a:extLst>
              <a:ext uri="{FF2B5EF4-FFF2-40B4-BE49-F238E27FC236}">
                <a16:creationId xmlns:a16="http://schemas.microsoft.com/office/drawing/2014/main" id="{C36D1970-CA1C-4ED4-ABDF-8F0801765A93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83835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Delivery / Deployment Overview</a:t>
            </a:r>
            <a:endParaRPr lang="en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3080" name="Picture 8">
            <a:extLst>
              <a:ext uri="{FF2B5EF4-FFF2-40B4-BE49-F238E27FC236}">
                <a16:creationId xmlns:a16="http://schemas.microsoft.com/office/drawing/2014/main" id="{96866725-9D63-7A66-3ED5-909D99DFB204}"/>
              </a:ext>
            </a:extLst>
          </p:cNvPr>
          <p:cNvPicPr>
            <a:picLocks noGrp="1" noChangeAspect="1" noChangeArrowheads="1"/>
          </p:cNvPicPr>
          <p:nvPr>
            <p:ph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50" y="2677307"/>
            <a:ext cx="11468100" cy="2085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39747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2CE0CB9C-1095-6D74-208F-ED5D727DE203}"/>
              </a:ext>
            </a:extLst>
          </p:cNvPr>
          <p:cNvPicPr>
            <a:picLocks noGrp="1" noChangeAspect="1" noChangeArrowheads="1"/>
          </p:cNvPicPr>
          <p:nvPr>
            <p:ph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149" y="1142151"/>
            <a:ext cx="11801772" cy="5153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77350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Implementation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6095250" y="1125809"/>
            <a:ext cx="5829333" cy="44892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Developer starts by executing </a:t>
            </a:r>
            <a:r>
              <a:rPr lang="en-GB" i="1" dirty="0">
                <a:solidFill>
                  <a:srgbClr val="202124"/>
                </a:solidFill>
                <a:latin typeface="arial" panose="020B0604020202020204" pitchFamily="34" charset="0"/>
              </a:rPr>
              <a:t>Initialize Pipeline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(Autom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This checks if the request is for an existing asset or a new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f new, automation will 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nitialize a repository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reate standardized branches, including requested Feature Branch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reate a project in Play/Build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f existing, automation will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lone the Prod branch to Feature branch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mport asset to Play/Build environment</a:t>
            </a: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89F067-B110-EFAB-E070-EF2A2C38CC01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DE" dirty="0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41A9948-4292-C52F-C74F-D6C1E0266A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68044"/>
            <a:ext cx="6025813" cy="1052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78036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Implementation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6095250" y="1125809"/>
            <a:ext cx="5829333" cy="44892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Developer starts develo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ce after completion he will execute </a:t>
            </a:r>
            <a:r>
              <a:rPr lang="en-GB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Feature</a:t>
            </a:r>
            <a:r>
              <a:rPr lang="en-GB" i="1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Pipeline (Autom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Export the asset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ommit the asset to Feature Branch</a:t>
            </a: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76254490-B9F0-CED0-2383-A46DF9266B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69" y="3528863"/>
            <a:ext cx="6190061" cy="1922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75625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Delivery DEV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265917" y="1184378"/>
            <a:ext cx="5829333" cy="44892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ce the implementation is finished, developer manually creates a Pull Request from Feature Branch to DEV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This will trigger the </a:t>
            </a:r>
            <a:r>
              <a:rPr lang="en-GB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Dev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pipeline (Autom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heckout the DEV branch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mport the asset to DEV environment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nd then kicks of automated test for the associated project/repo with data/assertions specific to DE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 Failure, developer needs to fix/re-develop the asset (Step 2).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  <a:p>
            <a:pPr>
              <a:buFont typeface="Segoe UI" panose="020B0502040204020203" pitchFamily="34" charset="0"/>
              <a:buNone/>
            </a:pPr>
            <a:r>
              <a:rPr lang="en-DE" dirty="0"/>
              <a:t> 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85653397-0A75-2347-FD01-BBDD80EAB2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2806" y="1565055"/>
            <a:ext cx="6157879" cy="1629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97060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Delivery QA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265917" y="1184378"/>
            <a:ext cx="5829333" cy="44892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fter Dev cycle is complete, developer manually creates a Pull Request from Feature Branch to QA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This will trigger the </a:t>
            </a:r>
            <a:r>
              <a:rPr lang="en-GB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QA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pipeline (Autom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heckout the QA branch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mport the asset to QA environment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nd then kicks of automated test for the associated project/repo with data/assertions specific to Q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 Failure, developer needs to fix/re-develop the asset (Step 2).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  <a:p>
            <a:pPr>
              <a:buFont typeface="Segoe UI" panose="020B0502040204020203" pitchFamily="34" charset="0"/>
              <a:buNone/>
            </a:pPr>
            <a:r>
              <a:rPr lang="en-DE" dirty="0"/>
              <a:t> 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0CACE36F-F407-5176-1100-9790AE2FCE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6646" y="2476206"/>
            <a:ext cx="6145353" cy="1473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84410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GB" dirty="0">
                <a:effectLst/>
                <a:latin typeface="Helvetica Neue" panose="02000503000000020004" pitchFamily="2" charset="0"/>
              </a:rPr>
              <a:t>mplementation to Delivery Flow : Delivery PROD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265917" y="1184377"/>
            <a:ext cx="5830083" cy="52695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ce the automated test and UAT is successfully finished, developer manually creates a Pull Request from Feature Branch to PROD.  PROD deployment may have different approval cyc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Respective operations team will manually trigger the </a:t>
            </a:r>
            <a:r>
              <a:rPr lang="en-GB" i="1" dirty="0" err="1">
                <a:solidFill>
                  <a:srgbClr val="202124"/>
                </a:solidFill>
                <a:latin typeface="arial" panose="020B0604020202020204" pitchFamily="34" charset="0"/>
              </a:rPr>
              <a:t>synchronizeToPROD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pipeline (Autom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will 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heckout the PROD branch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reate a release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Import the asset to PROD environment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nd then kicks of automated </a:t>
            </a:r>
            <a:r>
              <a:rPr lang="en-GB" i="1" dirty="0">
                <a:solidFill>
                  <a:srgbClr val="202124"/>
                </a:solidFill>
                <a:latin typeface="arial" panose="020B0604020202020204" pitchFamily="34" charset="0"/>
              </a:rPr>
              <a:t>Smoke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test, if any for PROD.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On Failure, developer needs to fix/re-develop the asset (Step 2). And release will be rolled back.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  <a:p>
            <a:pPr>
              <a:buFont typeface="Segoe UI" panose="020B0502040204020203" pitchFamily="34" charset="0"/>
              <a:buNone/>
            </a:pPr>
            <a:r>
              <a:rPr lang="en-DE" dirty="0"/>
              <a:t> 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932B79F2-F929-9EBC-7F20-7295D67F0E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6426" y="3884341"/>
            <a:ext cx="6275574" cy="1652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2262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B8EE510-E988-C2F2-A4B9-EA9A2A4C89E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E463DE6-D64D-25AB-1856-F335A82F60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</p:spPr>
        <p:txBody>
          <a:bodyPr/>
          <a:lstStyle/>
          <a:p>
            <a:r>
              <a:rPr lang="en-DE" dirty="0"/>
              <a:t>Show &amp; Tell / Dem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F8F67F-0E35-62E5-7E8F-3555DEAC06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2FBF35-E592-3FB1-F521-6D071614E9C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/>
              <a:t>© 2023 Software AG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4E07076-B6B0-942B-2733-8E6B5608D757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07184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mo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Scope, Assumptions &amp; Pre-requisites</a:t>
            </a:r>
          </a:p>
          <a:p>
            <a:endParaRPr lang="en-GB" dirty="0">
              <a:effectLst/>
              <a:latin typeface="Helvetica Neue" panose="02000503000000020004" pitchFamily="2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265917" y="1184378"/>
            <a:ext cx="5830083" cy="4966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3 Environments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Play/Build, Dev &amp; Q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ssets used for demo	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2 Workflows (one with Sub FS), 1 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</a:rPr>
              <a:t>Flowservice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, Reference Data, Account (Only export), Project Parameter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/ Orchestration platform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zure DevO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2 Repository Platforms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</a:rPr>
              <a:t>Github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Enterprise for Pipelines/Scripts (Automations)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</a:rPr>
              <a:t>Github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for actual 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</a:rPr>
              <a:t>webMethods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IO as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Test Framework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Postman / Newman &amp; Azure Test Plans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868950" lvl="3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  <a:p>
            <a:pPr>
              <a:buFont typeface="Segoe UI" panose="020B0502040204020203" pitchFamily="34" charset="0"/>
              <a:buNone/>
            </a:pPr>
            <a:r>
              <a:rPr lang="en-DE" dirty="0"/>
              <a:t>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B22FFA7-2455-22D4-2B45-B3C5430E8D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1623" y="3275437"/>
            <a:ext cx="4988043" cy="2686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33E1E0F-0BA2-5920-E9FB-2B147D8B38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3611" y="1211171"/>
            <a:ext cx="1848112" cy="2064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8575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mo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Demo</a:t>
            </a:r>
            <a:endParaRPr lang="en-GB" dirty="0">
              <a:effectLst/>
              <a:latin typeface="Helvetica Neue" panose="02000503000000020004" pitchFamily="2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700500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509C514C-BA4F-0491-187F-C776E7A159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DevOps 4 webMethods.io</a:t>
            </a:r>
            <a:endParaRPr lang="en-US" dirty="0"/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942C0033-749A-F3A6-9A05-1AC7C6EF6385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DE" dirty="0"/>
              <a:t>AGENDA</a:t>
            </a:r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BBD431EC-E3A1-CDBC-6DA3-876F51F0A556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2FF7AC6-E695-F790-D6F0-B9DC78B7DD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157156B-7E35-A1E8-4687-1B6F7F013F7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8385673-0E74-2F69-5D48-405514F267E4}"/>
              </a:ext>
            </a:extLst>
          </p:cNvPr>
          <p:cNvSpPr txBox="1">
            <a:spLocks/>
          </p:cNvSpPr>
          <p:nvPr/>
        </p:nvSpPr>
        <p:spPr>
          <a:xfrm>
            <a:off x="362034" y="1391985"/>
            <a:ext cx="11467266" cy="4661153"/>
          </a:xfrm>
          <a:prstGeom prst="rect">
            <a:avLst/>
          </a:prstGeom>
        </p:spPr>
        <p:txBody>
          <a:bodyPr/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GB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/>
              <a:t> </a:t>
            </a:r>
            <a:r>
              <a:rPr lang="en-GB" dirty="0" err="1"/>
              <a:t>webMethods.io</a:t>
            </a:r>
            <a:r>
              <a:rPr lang="en-GB" dirty="0"/>
              <a:t> IPaaS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/>
              <a:t> DevOps Requirement &amp; Benefit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/>
              <a:t> Context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/>
              <a:t> Use case Overview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dirty="0"/>
              <a:t>GIT Workflow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dirty="0"/>
              <a:t>Delivery / Deployment Overview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dirty="0"/>
              <a:t>Implementation to Delivery Flow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b="1" dirty="0"/>
              <a:t> Demo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dirty="0"/>
              <a:t>Scope, Assumptions &amp; Pre-requisites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en-GB" dirty="0"/>
              <a:t>Demo</a:t>
            </a:r>
          </a:p>
          <a:p>
            <a:pPr>
              <a:buFont typeface="Wingdings" panose="05000000000000000000" pitchFamily="2" charset="2"/>
              <a:buChar char="Ø"/>
            </a:pPr>
            <a:endParaRPr lang="en-GB" b="1" dirty="0"/>
          </a:p>
          <a:p>
            <a:endParaRPr lang="en-GB" b="1" dirty="0"/>
          </a:p>
        </p:txBody>
      </p:sp>
      <p:pic>
        <p:nvPicPr>
          <p:cNvPr id="15" name="Grafik 7">
            <a:extLst>
              <a:ext uri="{FF2B5EF4-FFF2-40B4-BE49-F238E27FC236}">
                <a16:creationId xmlns:a16="http://schemas.microsoft.com/office/drawing/2014/main" id="{C63BB104-2BE5-7433-B1AE-516BAE42DB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975" y="1766384"/>
            <a:ext cx="2681717" cy="2681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3934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B8EE510-E988-C2F2-A4B9-EA9A2A4C89E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E463DE6-D64D-25AB-1856-F335A82F60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</p:spPr>
        <p:txBody>
          <a:bodyPr/>
          <a:lstStyle/>
          <a:p>
            <a:r>
              <a:rPr lang="en-GB" dirty="0"/>
              <a:t>What Next</a:t>
            </a:r>
            <a:endParaRPr lang="en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F8F67F-0E35-62E5-7E8F-3555DEAC06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2FBF35-E592-3FB1-F521-6D071614E9C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/>
              <a:t>© 2023 Software AG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A2A3B8E-6307-DA24-5F35-A8DCC6076A9F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67791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xt Steps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DE" dirty="0"/>
              <a:t>Extend &amp; Expan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4B2554-60FE-A205-BE38-184219D7327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>
            <a:lvl1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1pPr>
            <a:lvl2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2pPr>
            <a:lvl3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3pPr>
            <a:lvl4pPr>
              <a:buClr>
                <a:schemeClr val="tx1"/>
              </a:buClr>
              <a:buFont typeface="Symbol" panose="05050102010706020507" pitchFamily="18" charset="2"/>
              <a:buChar char=""/>
            </a:lvl4pPr>
            <a:lvl5pPr>
              <a:buSzPct val="100000"/>
              <a:buFont typeface="Segoe UI" panose="020B0502040204020203" pitchFamily="34" charset="0"/>
              <a:buChar char="•"/>
            </a:lvl5pPr>
            <a:lvl6pPr>
              <a:buFont typeface="+mj-lt"/>
              <a:buAutoNum type="arabicPeriod"/>
            </a:lvl6pPr>
          </a:lstStyle>
          <a:p>
            <a:pPr>
              <a:buFont typeface="Wingdings" panose="05000000000000000000" pitchFamily="2" charset="2"/>
              <a:buChar char="ü"/>
            </a:pPr>
            <a:endParaRPr lang="en-GB" dirty="0"/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More connector test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Integration with Hybrid DevOp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Test Coverage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Code Review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8" name="AutoShape 2">
            <a:extLst>
              <a:ext uri="{FF2B5EF4-FFF2-40B4-BE49-F238E27FC236}">
                <a16:creationId xmlns:a16="http://schemas.microsoft.com/office/drawing/2014/main" id="{668A51FB-792C-F8FA-6D2D-CC6DE3DB936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74768917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xt Steps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DE" dirty="0"/>
              <a:t>Featur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4B2554-60FE-A205-BE38-184219D7327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>
            <a:lvl1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1pPr>
            <a:lvl2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2pPr>
            <a:lvl3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3pPr>
            <a:lvl4pPr>
              <a:buClr>
                <a:schemeClr val="tx1"/>
              </a:buClr>
              <a:buFont typeface="Symbol" panose="05050102010706020507" pitchFamily="18" charset="2"/>
              <a:buChar char=""/>
            </a:lvl4pPr>
            <a:lvl5pPr>
              <a:buSzPct val="100000"/>
              <a:buFont typeface="Segoe UI" panose="020B0502040204020203" pitchFamily="34" charset="0"/>
              <a:buChar char="•"/>
            </a:lvl5pPr>
            <a:lvl6pPr>
              <a:buFont typeface="+mj-lt"/>
              <a:buAutoNum type="arabicPeriod"/>
            </a:lvl6pPr>
          </a:lstStyle>
          <a:p>
            <a:pPr>
              <a:buFont typeface="Wingdings" panose="05000000000000000000" pitchFamily="2" charset="2"/>
              <a:buChar char="ü"/>
            </a:pPr>
            <a:endParaRPr lang="en-GB" dirty="0"/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Project Export/Import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Account Export/Import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Direct Git Integration (Origin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Multiple runtime support (Origin)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8" name="AutoShape 2">
            <a:extLst>
              <a:ext uri="{FF2B5EF4-FFF2-40B4-BE49-F238E27FC236}">
                <a16:creationId xmlns:a16="http://schemas.microsoft.com/office/drawing/2014/main" id="{668A51FB-792C-F8FA-6D2D-CC6DE3DB936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7469191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408500-5F7E-77ED-9190-5F67A14483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Referenc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72EEC4-EDF4-32FB-C153-580F215B4BCB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3D6D2E-F8C1-C8B7-69BC-083FB1C674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329A10-DA97-3814-9652-53A5D56095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A60C20-68F3-AD76-E1E7-2A56DE2965BC}"/>
              </a:ext>
            </a:extLst>
          </p:cNvPr>
          <p:cNvSpPr txBox="1"/>
          <p:nvPr/>
        </p:nvSpPr>
        <p:spPr>
          <a:xfrm>
            <a:off x="1092200" y="1769533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marL="285750" indent="-285750" algn="l" defTabSz="972000">
              <a:lnSpc>
                <a:spcPct val="120000"/>
              </a:lnSpc>
              <a:spcAft>
                <a:spcPts val="765"/>
              </a:spcAft>
              <a:buFont typeface="Wingdings" pitchFamily="2" charset="2"/>
              <a:buChar char="ü"/>
            </a:pPr>
            <a:endParaRPr lang="en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8069D34-8C89-241E-01D9-28D8C32D0537}"/>
              </a:ext>
            </a:extLst>
          </p:cNvPr>
          <p:cNvSpPr txBox="1"/>
          <p:nvPr/>
        </p:nvSpPr>
        <p:spPr>
          <a:xfrm>
            <a:off x="550333" y="1439333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E588EF-4DAF-1DAF-732B-250E6A198BDB}"/>
              </a:ext>
            </a:extLst>
          </p:cNvPr>
          <p:cNvSpPr txBox="1"/>
          <p:nvPr/>
        </p:nvSpPr>
        <p:spPr>
          <a:xfrm>
            <a:off x="516467" y="1651000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716697D1-0923-B71B-8A18-8DAECB3FBD2F}"/>
              </a:ext>
            </a:extLst>
          </p:cNvPr>
          <p:cNvSpPr txBox="1">
            <a:spLocks/>
          </p:cNvSpPr>
          <p:nvPr/>
        </p:nvSpPr>
        <p:spPr>
          <a:xfrm>
            <a:off x="361200" y="1387800"/>
            <a:ext cx="11468100" cy="4665663"/>
          </a:xfrm>
          <a:prstGeom prst="rect">
            <a:avLst/>
          </a:prstGeom>
        </p:spPr>
        <p:txBody>
          <a:bodyPr/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Repository for automation, scripts &amp; sample assets: 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  <a:hlinkClick r:id="rId2"/>
              </a:rPr>
              <a:t>https://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  <a:hlinkClick r:id="rId2"/>
              </a:rPr>
              <a:t>github.com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  <a:hlinkClick r:id="rId2"/>
              </a:rPr>
              <a:t>/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  <a:hlinkClick r:id="rId2"/>
              </a:rPr>
              <a:t>SoftwareAG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  <a:hlinkClick r:id="rId2"/>
              </a:rPr>
              <a:t>/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  <a:hlinkClick r:id="rId2"/>
              </a:rPr>
              <a:t>webmethods_io_int_cicd</a:t>
            </a: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PI Documentation: 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https://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docs.webmethods.io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/integration/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apis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/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webmethods_api_ref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/#reference-data-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  <a:hlinkClick r:id="rId3"/>
              </a:rPr>
              <a:t>apis</a:t>
            </a: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LI Repository: 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https://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github.com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/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SoftwareAG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/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webmethods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-io-integration-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  <a:hlinkClick r:id="rId4"/>
              </a:rPr>
              <a:t>apicli</a:t>
            </a: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GB" dirty="0"/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5427586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74C089-FDD4-74B0-F08B-4905ED41F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7E5BE17-2264-AC90-180D-D0CE207B58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6734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9C4B561-BB45-3440-AD3D-C0A7B796C0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Methods.io iPaa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A7C3F3-FBF8-1442-A702-6E1A0A9AC3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Integration, B2B, MFT and API Management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90552AF-8BB8-E541-8E36-099062F7FCAF}"/>
              </a:ext>
            </a:extLst>
          </p:cNvPr>
          <p:cNvGrpSpPr/>
          <p:nvPr/>
        </p:nvGrpSpPr>
        <p:grpSpPr>
          <a:xfrm>
            <a:off x="-11617" y="2027376"/>
            <a:ext cx="12203617" cy="3495317"/>
            <a:chOff x="-8713" y="1533302"/>
            <a:chExt cx="9152713" cy="2621488"/>
          </a:xfrm>
          <a:solidFill>
            <a:schemeClr val="tx2"/>
          </a:solidFill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7B946B7-B54C-604D-A438-C66C611517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 amt="3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-8713" y="1533302"/>
              <a:ext cx="4145282" cy="2621488"/>
            </a:xfrm>
            <a:prstGeom prst="rect">
              <a:avLst/>
            </a:prstGeom>
            <a:grpFill/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17ACD6BB-682A-214E-96D3-4B2B39916D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alphaModFix amt="3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36570" y="1534438"/>
              <a:ext cx="5007430" cy="2620352"/>
            </a:xfrm>
            <a:prstGeom prst="rect">
              <a:avLst/>
            </a:prstGeom>
            <a:grpFill/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837E1904-55D8-B349-A581-AA99F674A005}"/>
              </a:ext>
            </a:extLst>
          </p:cNvPr>
          <p:cNvGrpSpPr/>
          <p:nvPr/>
        </p:nvGrpSpPr>
        <p:grpSpPr>
          <a:xfrm>
            <a:off x="5071873" y="2276534"/>
            <a:ext cx="6414755" cy="3081319"/>
            <a:chOff x="5300318" y="1296814"/>
            <a:chExt cx="3981015" cy="2213314"/>
          </a:xfrm>
          <a:solidFill>
            <a:schemeClr val="bg2"/>
          </a:solidFill>
        </p:grpSpPr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ADFE78B6-6D78-3246-B392-FFA3C0BBF6E9}"/>
                </a:ext>
              </a:extLst>
            </p:cNvPr>
            <p:cNvSpPr/>
            <p:nvPr/>
          </p:nvSpPr>
          <p:spPr>
            <a:xfrm>
              <a:off x="5667146" y="2753833"/>
              <a:ext cx="3248241" cy="754912"/>
            </a:xfrm>
            <a:prstGeom prst="roundRect">
              <a:avLst>
                <a:gd name="adj" fmla="val 48592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  <a:defRPr/>
              </a:pPr>
              <a:endParaRPr lang="en-US" sz="1867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B076754B-A853-8B47-862F-85E28440E949}"/>
                </a:ext>
              </a:extLst>
            </p:cNvPr>
            <p:cNvSpPr/>
            <p:nvPr/>
          </p:nvSpPr>
          <p:spPr>
            <a:xfrm>
              <a:off x="5300318" y="2181709"/>
              <a:ext cx="1259969" cy="131518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  <a:defRPr/>
              </a:pPr>
              <a:endParaRPr lang="en-US" sz="1867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63D6640-82D1-7F45-B833-A91CB1041F9A}"/>
                </a:ext>
              </a:extLst>
            </p:cNvPr>
            <p:cNvSpPr/>
            <p:nvPr/>
          </p:nvSpPr>
          <p:spPr>
            <a:xfrm>
              <a:off x="5971341" y="1296814"/>
              <a:ext cx="2037141" cy="212641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  <a:defRPr/>
              </a:pPr>
              <a:endParaRPr lang="en-US" sz="1867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5A43C967-0B26-C042-A08B-7EC316F7A2C7}"/>
                </a:ext>
              </a:extLst>
            </p:cNvPr>
            <p:cNvSpPr/>
            <p:nvPr/>
          </p:nvSpPr>
          <p:spPr>
            <a:xfrm>
              <a:off x="8021364" y="2194944"/>
              <a:ext cx="1259969" cy="131518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  <a:defRPr/>
              </a:pPr>
              <a:endParaRPr lang="en-US" sz="1867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BBFEC1BC-C7B2-F04F-A2A6-9A2D6E30E96A}"/>
                </a:ext>
              </a:extLst>
            </p:cNvPr>
            <p:cNvSpPr/>
            <p:nvPr/>
          </p:nvSpPr>
          <p:spPr>
            <a:xfrm>
              <a:off x="7285159" y="1877432"/>
              <a:ext cx="1394346" cy="138067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  <a:defRPr/>
              </a:pPr>
              <a:endParaRPr lang="en-US" sz="1867" b="1">
                <a:solidFill>
                  <a:prstClr val="white"/>
                </a:solidFill>
                <a:latin typeface="Rubik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DB6DFDF0-A680-A748-B0B0-0BFC8C2D5276}"/>
              </a:ext>
            </a:extLst>
          </p:cNvPr>
          <p:cNvSpPr txBox="1"/>
          <p:nvPr/>
        </p:nvSpPr>
        <p:spPr>
          <a:xfrm>
            <a:off x="1314966" y="2534077"/>
            <a:ext cx="4015523" cy="410433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914377">
              <a:spcBef>
                <a:spcPts val="576"/>
              </a:spcBef>
              <a:buClr>
                <a:prstClr val="white">
                  <a:lumMod val="50000"/>
                </a:prstClr>
              </a:buClr>
              <a:defRPr/>
            </a:pPr>
            <a:r>
              <a:rPr lang="en-US" sz="2667" b="1">
                <a:solidFill>
                  <a:prstClr val="white"/>
                </a:solidFill>
                <a:latin typeface="Rubik"/>
              </a:rPr>
              <a:t>MULTI-FUNCTION iPaa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AC9A8E3-40F0-2446-8ECF-684CBE878401}"/>
              </a:ext>
            </a:extLst>
          </p:cNvPr>
          <p:cNvSpPr/>
          <p:nvPr/>
        </p:nvSpPr>
        <p:spPr>
          <a:xfrm>
            <a:off x="1318202" y="3017257"/>
            <a:ext cx="3824765" cy="41024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914377">
              <a:spcBef>
                <a:spcPts val="576"/>
              </a:spcBef>
              <a:buClr>
                <a:prstClr val="white"/>
              </a:buClr>
              <a:defRPr/>
            </a:pPr>
            <a:r>
              <a:rPr lang="en-US" sz="1333">
                <a:solidFill>
                  <a:prstClr val="white"/>
                </a:solidFill>
                <a:latin typeface="Rubik"/>
              </a:rPr>
              <a:t>for LOW-CODE and HIGH-CONTROL developers </a:t>
            </a:r>
            <a:br>
              <a:rPr lang="en-US" sz="1333">
                <a:solidFill>
                  <a:prstClr val="white"/>
                </a:solidFill>
                <a:latin typeface="Rubik"/>
              </a:rPr>
            </a:br>
            <a:r>
              <a:rPr lang="en-US" sz="1333">
                <a:solidFill>
                  <a:prstClr val="white"/>
                </a:solidFill>
                <a:latin typeface="Rubik"/>
              </a:rPr>
              <a:t>deployed across a MULTI-CLOUD infrastructure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21B0CDE-A670-8343-B9AB-68524B9AE005}"/>
              </a:ext>
            </a:extLst>
          </p:cNvPr>
          <p:cNvSpPr txBox="1"/>
          <p:nvPr/>
        </p:nvSpPr>
        <p:spPr>
          <a:xfrm>
            <a:off x="1390121" y="3663792"/>
            <a:ext cx="2656176" cy="1615442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228594" indent="-228594" defTabSz="914377">
              <a:spcBef>
                <a:spcPts val="576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333">
                <a:solidFill>
                  <a:prstClr val="white"/>
                </a:solidFill>
                <a:latin typeface="Rubik"/>
              </a:rPr>
              <a:t>Cloud and Hybrid Connectivity</a:t>
            </a:r>
          </a:p>
          <a:p>
            <a:pPr marL="228594" indent="-228594" defTabSz="914377">
              <a:spcBef>
                <a:spcPts val="576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333">
                <a:solidFill>
                  <a:prstClr val="white"/>
                </a:solidFill>
                <a:latin typeface="Rubik"/>
              </a:rPr>
              <a:t>Orchestration</a:t>
            </a:r>
          </a:p>
          <a:p>
            <a:pPr marL="228594" indent="-228594" defTabSz="914377">
              <a:spcBef>
                <a:spcPts val="576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333">
                <a:solidFill>
                  <a:prstClr val="white"/>
                </a:solidFill>
                <a:latin typeface="Rubik"/>
              </a:rPr>
              <a:t>Guided development</a:t>
            </a:r>
          </a:p>
          <a:p>
            <a:pPr marL="228594" indent="-228594" defTabSz="914377">
              <a:spcBef>
                <a:spcPts val="576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333">
                <a:solidFill>
                  <a:prstClr val="white"/>
                </a:solidFill>
                <a:latin typeface="Rubik"/>
              </a:rPr>
              <a:t>Recipes</a:t>
            </a:r>
          </a:p>
          <a:p>
            <a:pPr marL="228594" indent="-228594" defTabSz="914377">
              <a:spcBef>
                <a:spcPts val="576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333">
                <a:solidFill>
                  <a:prstClr val="white"/>
                </a:solidFill>
                <a:latin typeface="Rubik"/>
              </a:rPr>
              <a:t>Monitoring</a:t>
            </a:r>
          </a:p>
          <a:p>
            <a:pPr marL="228594" indent="-228594" defTabSz="914377">
              <a:spcBef>
                <a:spcPts val="576"/>
              </a:spcBef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endParaRPr lang="en-US" sz="1333">
              <a:solidFill>
                <a:prstClr val="white"/>
              </a:solidFill>
              <a:latin typeface="Rubik"/>
            </a:endParaRPr>
          </a:p>
        </p:txBody>
      </p:sp>
      <p:sp>
        <p:nvSpPr>
          <p:cNvPr id="27" name="Triangle 26">
            <a:extLst>
              <a:ext uri="{FF2B5EF4-FFF2-40B4-BE49-F238E27FC236}">
                <a16:creationId xmlns:a16="http://schemas.microsoft.com/office/drawing/2014/main" id="{0E1D1CCE-E596-144A-A483-3E5721CCF269}"/>
              </a:ext>
            </a:extLst>
          </p:cNvPr>
          <p:cNvSpPr/>
          <p:nvPr/>
        </p:nvSpPr>
        <p:spPr>
          <a:xfrm>
            <a:off x="6195831" y="3051133"/>
            <a:ext cx="3641852" cy="1465943"/>
          </a:xfrm>
          <a:prstGeom prst="triangle">
            <a:avLst>
              <a:gd name="adj" fmla="val 50692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spcBef>
                <a:spcPts val="400"/>
              </a:spcBef>
              <a:defRPr/>
            </a:pPr>
            <a:endParaRPr lang="en-US" sz="1867" b="1">
              <a:solidFill>
                <a:prstClr val="white"/>
              </a:solidFill>
              <a:latin typeface="Rubik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9B1B3D6-0E9B-954C-92A2-DF7C3FC9FF4A}"/>
              </a:ext>
            </a:extLst>
          </p:cNvPr>
          <p:cNvGrpSpPr/>
          <p:nvPr/>
        </p:nvGrpSpPr>
        <p:grpSpPr>
          <a:xfrm>
            <a:off x="5903879" y="3678576"/>
            <a:ext cx="992576" cy="992576"/>
            <a:chOff x="229132" y="1797750"/>
            <a:chExt cx="1548000" cy="1548000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C4210108-5C27-9F4A-91F7-2D9A0FC0F8C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9132" y="1797750"/>
              <a:ext cx="1548000" cy="1548000"/>
            </a:xfrm>
            <a:prstGeom prst="ellipse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  <a:defRPr/>
              </a:pPr>
              <a:endParaRPr lang="en-US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8328D16-7A18-CD47-A7BC-695D6DB6C7E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3132" y="1851750"/>
              <a:ext cx="1440000" cy="1440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  <a:defRPr/>
              </a:pPr>
              <a:r>
                <a:rPr lang="en-US" b="1">
                  <a:solidFill>
                    <a:prstClr val="white"/>
                  </a:solidFill>
                  <a:latin typeface="Rubik"/>
                </a:rPr>
                <a:t>B2B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485232D-98C9-2E4A-BCA1-BF9F17955D39}"/>
              </a:ext>
            </a:extLst>
          </p:cNvPr>
          <p:cNvGrpSpPr/>
          <p:nvPr/>
        </p:nvGrpSpPr>
        <p:grpSpPr>
          <a:xfrm>
            <a:off x="7520468" y="2536887"/>
            <a:ext cx="992576" cy="992576"/>
            <a:chOff x="229132" y="1797750"/>
            <a:chExt cx="1548000" cy="1548000"/>
          </a:xfrm>
          <a:solidFill>
            <a:schemeClr val="accent2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3E4BAA9-AE0B-944A-B827-52A126B9268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9132" y="1797750"/>
              <a:ext cx="1548000" cy="1548000"/>
            </a:xfrm>
            <a:prstGeom prst="ellipse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  <a:defRPr/>
              </a:pPr>
              <a:endParaRPr lang="en-US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E1E723DE-2BBA-CE42-9D5A-E7CFFBFB37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3132" y="1851750"/>
              <a:ext cx="1440000" cy="1440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  <a:defRPr/>
              </a:pPr>
              <a:r>
                <a:rPr lang="en-US" b="1" dirty="0">
                  <a:solidFill>
                    <a:prstClr val="white"/>
                  </a:solidFill>
                  <a:latin typeface="Rubik"/>
                </a:rPr>
                <a:t>API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3862317-67F4-0B48-8630-2FC9F1137D63}"/>
              </a:ext>
            </a:extLst>
          </p:cNvPr>
          <p:cNvGrpSpPr/>
          <p:nvPr/>
        </p:nvGrpSpPr>
        <p:grpSpPr>
          <a:xfrm>
            <a:off x="9153939" y="3667492"/>
            <a:ext cx="992576" cy="992576"/>
            <a:chOff x="229132" y="1797750"/>
            <a:chExt cx="1548000" cy="154800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D4BB6742-E218-E746-80AB-0B718006A7D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9132" y="1797750"/>
              <a:ext cx="1548000" cy="1548000"/>
            </a:xfrm>
            <a:prstGeom prst="ellipse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  <a:defRPr/>
              </a:pPr>
              <a:endParaRPr lang="en-US" b="1">
                <a:solidFill>
                  <a:prstClr val="white"/>
                </a:solidFill>
                <a:latin typeface="Rubik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92758893-B4C5-C445-860A-AEF48073FA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3132" y="1851750"/>
              <a:ext cx="1440000" cy="1440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  <a:defRPr/>
              </a:pPr>
              <a:r>
                <a:rPr lang="en-US" b="1" dirty="0">
                  <a:solidFill>
                    <a:prstClr val="white"/>
                  </a:solidFill>
                  <a:latin typeface="Rubik"/>
                </a:rPr>
                <a:t>MFT</a:t>
              </a:r>
            </a:p>
          </p:txBody>
        </p:sp>
      </p:grp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3D99E14E-2F6F-1643-92F4-8A5D391113E1}"/>
              </a:ext>
            </a:extLst>
          </p:cNvPr>
          <p:cNvSpPr/>
          <p:nvPr/>
        </p:nvSpPr>
        <p:spPr>
          <a:xfrm>
            <a:off x="6984496" y="3730961"/>
            <a:ext cx="2064000" cy="569207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spcBef>
                <a:spcPts val="400"/>
              </a:spcBef>
              <a:defRPr/>
            </a:pPr>
            <a:endParaRPr lang="en-US" sz="1867" b="1">
              <a:solidFill>
                <a:prstClr val="white"/>
              </a:solidFill>
              <a:latin typeface="Rubik"/>
            </a:endParaRP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482A4502-7720-384F-94F5-B5494A3FC557}"/>
              </a:ext>
            </a:extLst>
          </p:cNvPr>
          <p:cNvSpPr/>
          <p:nvPr/>
        </p:nvSpPr>
        <p:spPr>
          <a:xfrm>
            <a:off x="7043350" y="3775035"/>
            <a:ext cx="1946815" cy="471776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spcBef>
                <a:spcPts val="400"/>
              </a:spcBef>
              <a:defRPr/>
            </a:pPr>
            <a:r>
              <a:rPr lang="en-US" sz="1867" b="1">
                <a:solidFill>
                  <a:prstClr val="white"/>
                </a:solidFill>
                <a:latin typeface="Rubik"/>
              </a:rPr>
              <a:t>INTEGRATIO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89826CA-B69E-1D49-A927-1092EEE83A4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914377">
              <a:spcBef>
                <a:spcPts val="400"/>
              </a:spcBef>
              <a:defRPr/>
            </a:pPr>
            <a:r>
              <a:rPr lang="en-US" dirty="0">
                <a:solidFill>
                  <a:prstClr val="white">
                    <a:lumMod val="65000"/>
                  </a:prstClr>
                </a:solidFill>
                <a:latin typeface="Rubik"/>
              </a:rPr>
              <a:t>© 2023 Software AG. All rights reserved. </a:t>
            </a:r>
          </a:p>
        </p:txBody>
      </p:sp>
      <p:pic>
        <p:nvPicPr>
          <p:cNvPr id="48" name="Picture 9">
            <a:extLst>
              <a:ext uri="{FF2B5EF4-FFF2-40B4-BE49-F238E27FC236}">
                <a16:creationId xmlns:a16="http://schemas.microsoft.com/office/drawing/2014/main" id="{24082416-58EA-994E-80D1-7F48B35D12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1461" y="4882568"/>
            <a:ext cx="4070431" cy="275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18561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Group 67">
            <a:extLst>
              <a:ext uri="{FF2B5EF4-FFF2-40B4-BE49-F238E27FC236}">
                <a16:creationId xmlns:a16="http://schemas.microsoft.com/office/drawing/2014/main" id="{866F270E-78F3-EB4D-AE93-AAC30AC96C1E}"/>
              </a:ext>
            </a:extLst>
          </p:cNvPr>
          <p:cNvGrpSpPr/>
          <p:nvPr/>
        </p:nvGrpSpPr>
        <p:grpSpPr>
          <a:xfrm>
            <a:off x="-11617" y="1958247"/>
            <a:ext cx="12203617" cy="3805247"/>
            <a:chOff x="-8713" y="1527876"/>
            <a:chExt cx="9152713" cy="2628050"/>
          </a:xfrm>
          <a:solidFill>
            <a:schemeClr val="accent4"/>
          </a:solidFill>
        </p:grpSpPr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389AFD8D-93EF-D94D-8FE3-B3A6DDE1F4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alphaModFix amt="3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-8713" y="1533302"/>
              <a:ext cx="4145282" cy="2621488"/>
            </a:xfrm>
            <a:prstGeom prst="rect">
              <a:avLst/>
            </a:prstGeom>
            <a:grpFill/>
          </p:spPr>
        </p:pic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192C7737-F991-CC40-AEBA-BA663423B1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hqprint">
              <a:alphaModFix amt="3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36570" y="1527876"/>
              <a:ext cx="5007430" cy="2628050"/>
            </a:xfrm>
            <a:prstGeom prst="rect">
              <a:avLst/>
            </a:prstGeom>
            <a:grpFill/>
          </p:spPr>
        </p:pic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0E7BF0C4-375E-AB41-BBED-10DD527B0BD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1115" y="1714648"/>
            <a:ext cx="7829772" cy="4628265"/>
          </a:xfrm>
          <a:prstGeom prst="rect">
            <a:avLst/>
          </a:prstGeom>
        </p:spPr>
      </p:pic>
      <p:sp>
        <p:nvSpPr>
          <p:cNvPr id="86" name="Rectangle 85">
            <a:extLst>
              <a:ext uri="{FF2B5EF4-FFF2-40B4-BE49-F238E27FC236}">
                <a16:creationId xmlns:a16="http://schemas.microsoft.com/office/drawing/2014/main" id="{AF4C1BD4-7712-D349-AD2B-902E4CA759FD}"/>
              </a:ext>
            </a:extLst>
          </p:cNvPr>
          <p:cNvSpPr/>
          <p:nvPr/>
        </p:nvSpPr>
        <p:spPr>
          <a:xfrm>
            <a:off x="9065342" y="3162512"/>
            <a:ext cx="2976236" cy="502573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lvl="1" algn="ctr" defTabSz="914377">
              <a:spcBef>
                <a:spcPts val="576"/>
              </a:spcBef>
              <a:buClr>
                <a:srgbClr val="011F3D"/>
              </a:buClr>
            </a:pPr>
            <a:r>
              <a:rPr lang="en-US" sz="1333" dirty="0">
                <a:solidFill>
                  <a:srgbClr val="FFFFFF"/>
                </a:solidFill>
                <a:latin typeface="Rubik"/>
              </a:rPr>
              <a:t>Extensive </a:t>
            </a:r>
            <a:br>
              <a:rPr lang="en-US" sz="1333" dirty="0">
                <a:solidFill>
                  <a:srgbClr val="FFFFFF"/>
                </a:solidFill>
                <a:latin typeface="Rubik"/>
              </a:rPr>
            </a:br>
            <a:r>
              <a:rPr lang="en-US" sz="1333" dirty="0">
                <a:solidFill>
                  <a:srgbClr val="FFFFFF"/>
                </a:solidFill>
                <a:latin typeface="Rubik"/>
              </a:rPr>
              <a:t>Connectivity Toolkit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0BD31DFF-2DE0-1D4A-A9D0-7F5A6C859522}"/>
              </a:ext>
            </a:extLst>
          </p:cNvPr>
          <p:cNvSpPr/>
          <p:nvPr/>
        </p:nvSpPr>
        <p:spPr>
          <a:xfrm>
            <a:off x="9422696" y="5003205"/>
            <a:ext cx="2256657" cy="502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>
              <a:spcBef>
                <a:spcPts val="400"/>
              </a:spcBef>
            </a:pPr>
            <a:r>
              <a:rPr lang="en-US" sz="1333">
                <a:solidFill>
                  <a:srgbClr val="FFFFFF"/>
                </a:solidFill>
                <a:latin typeface="Rubik"/>
              </a:rPr>
              <a:t>Optimized for </a:t>
            </a:r>
            <a:br>
              <a:rPr lang="en-US" sz="1333">
                <a:solidFill>
                  <a:srgbClr val="FFFFFF"/>
                </a:solidFill>
                <a:latin typeface="Rubik"/>
              </a:rPr>
            </a:br>
            <a:r>
              <a:rPr lang="en-US" sz="1333">
                <a:solidFill>
                  <a:srgbClr val="FFFFFF"/>
                </a:solidFill>
                <a:latin typeface="Rubik"/>
              </a:rPr>
              <a:t>Scale and Performance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11DF23EB-BC5E-5D42-997C-77B392D5C172}"/>
              </a:ext>
            </a:extLst>
          </p:cNvPr>
          <p:cNvSpPr/>
          <p:nvPr/>
        </p:nvSpPr>
        <p:spPr>
          <a:xfrm>
            <a:off x="10070328" y="4036899"/>
            <a:ext cx="961389" cy="938071"/>
          </a:xfrm>
          <a:prstGeom prst="roundRect">
            <a:avLst/>
          </a:prstGeom>
          <a:solidFill>
            <a:srgbClr val="FFFFFF"/>
          </a:solidFill>
          <a:ln w="12700" cap="rnd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spcBef>
                <a:spcPts val="400"/>
              </a:spcBef>
            </a:pPr>
            <a:endParaRPr lang="de-DE" sz="1867" b="1">
              <a:solidFill>
                <a:srgbClr val="FFFFFF"/>
              </a:solidFill>
              <a:latin typeface="Rubik"/>
            </a:endParaRPr>
          </a:p>
        </p:txBody>
      </p:sp>
      <p:pic>
        <p:nvPicPr>
          <p:cNvPr id="31" name="Picture 30" descr="Icons_Settings06.png">
            <a:extLst>
              <a:ext uri="{FF2B5EF4-FFF2-40B4-BE49-F238E27FC236}">
                <a16:creationId xmlns:a16="http://schemas.microsoft.com/office/drawing/2014/main" id="{3FF82CCC-DF96-B943-ABFE-C70F51CAF2C5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5844" y="4194182"/>
            <a:ext cx="630357" cy="630357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Methods.io Integra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377">
              <a:spcBef>
                <a:spcPts val="400"/>
              </a:spcBef>
            </a:pPr>
            <a:r>
              <a:rPr lang="en-GB" dirty="0">
                <a:solidFill>
                  <a:srgbClr val="011F3D"/>
                </a:solidFill>
                <a:latin typeface="Rubik"/>
              </a:rPr>
              <a:t>© 2023 Software AG. All rights reserved. </a:t>
            </a:r>
            <a:endParaRPr lang="en-US" dirty="0">
              <a:solidFill>
                <a:srgbClr val="011F3D"/>
              </a:solidFill>
              <a:latin typeface="Rubik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2667" dirty="0"/>
              <a:t>Quickly integrate applications in the cloud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FC49B03B-2181-4447-92FA-F70023C33B42}"/>
              </a:ext>
            </a:extLst>
          </p:cNvPr>
          <p:cNvSpPr/>
          <p:nvPr/>
        </p:nvSpPr>
        <p:spPr>
          <a:xfrm>
            <a:off x="10070328" y="2206897"/>
            <a:ext cx="961389" cy="938071"/>
          </a:xfrm>
          <a:prstGeom prst="roundRect">
            <a:avLst/>
          </a:prstGeom>
          <a:solidFill>
            <a:srgbClr val="FFFFFF"/>
          </a:solidFill>
          <a:ln w="12700" cap="rnd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spcBef>
                <a:spcPts val="400"/>
              </a:spcBef>
            </a:pPr>
            <a:endParaRPr lang="de-DE" sz="1867" b="1">
              <a:solidFill>
                <a:srgbClr val="FFFFFF"/>
              </a:solidFill>
              <a:latin typeface="Rubik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8276EDE-61DC-CC49-B925-A269A71EE8A3}"/>
              </a:ext>
            </a:extLst>
          </p:cNvPr>
          <p:cNvSpPr/>
          <p:nvPr/>
        </p:nvSpPr>
        <p:spPr>
          <a:xfrm>
            <a:off x="557673" y="5003206"/>
            <a:ext cx="2256657" cy="5538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>
              <a:spcBef>
                <a:spcPts val="400"/>
              </a:spcBef>
            </a:pPr>
            <a:r>
              <a:rPr lang="en-US" sz="1333">
                <a:solidFill>
                  <a:srgbClr val="FFFFFF"/>
                </a:solidFill>
                <a:latin typeface="Rubik"/>
              </a:rPr>
              <a:t>Broad </a:t>
            </a:r>
          </a:p>
          <a:p>
            <a:pPr algn="ctr" defTabSz="914377">
              <a:spcBef>
                <a:spcPts val="400"/>
              </a:spcBef>
            </a:pPr>
            <a:r>
              <a:rPr lang="en-US" sz="1333">
                <a:solidFill>
                  <a:srgbClr val="FFFFFF"/>
                </a:solidFill>
                <a:latin typeface="Rubik"/>
              </a:rPr>
              <a:t>Developer Support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0BBC99F1-9797-B146-8F24-BE7F99F11EA6}"/>
              </a:ext>
            </a:extLst>
          </p:cNvPr>
          <p:cNvSpPr/>
          <p:nvPr/>
        </p:nvSpPr>
        <p:spPr>
          <a:xfrm>
            <a:off x="1205306" y="4036899"/>
            <a:ext cx="961389" cy="938071"/>
          </a:xfrm>
          <a:prstGeom prst="roundRect">
            <a:avLst/>
          </a:prstGeom>
          <a:solidFill>
            <a:srgbClr val="FFFFFF"/>
          </a:solidFill>
          <a:ln w="12700" cap="rnd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spcBef>
                <a:spcPts val="400"/>
              </a:spcBef>
            </a:pPr>
            <a:endParaRPr lang="de-DE" sz="1867" b="1">
              <a:solidFill>
                <a:srgbClr val="FFFFFF"/>
              </a:solidFill>
              <a:latin typeface="Rubik"/>
            </a:endParaRP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8F6DF06F-F8E9-6544-9CCB-FF2A7469801E}"/>
              </a:ext>
            </a:extLst>
          </p:cNvPr>
          <p:cNvSpPr/>
          <p:nvPr/>
        </p:nvSpPr>
        <p:spPr>
          <a:xfrm>
            <a:off x="1205306" y="2206897"/>
            <a:ext cx="961389" cy="938071"/>
          </a:xfrm>
          <a:prstGeom prst="roundRect">
            <a:avLst/>
          </a:prstGeom>
          <a:solidFill>
            <a:srgbClr val="FFFFFF"/>
          </a:solidFill>
          <a:ln w="12700" cap="rnd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spcBef>
                <a:spcPts val="400"/>
              </a:spcBef>
            </a:pPr>
            <a:endParaRPr lang="de-DE" sz="1867" b="1">
              <a:solidFill>
                <a:srgbClr val="FFFFFF"/>
              </a:solidFill>
              <a:latin typeface="Rubik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BE0E8C6-8BF5-124D-AEB4-01AE43180B82}"/>
              </a:ext>
            </a:extLst>
          </p:cNvPr>
          <p:cNvSpPr/>
          <p:nvPr/>
        </p:nvSpPr>
        <p:spPr>
          <a:xfrm>
            <a:off x="557673" y="3141699"/>
            <a:ext cx="2211633" cy="502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defTabSz="914377">
              <a:spcBef>
                <a:spcPts val="576"/>
              </a:spcBef>
              <a:buClr>
                <a:srgbClr val="011F3D"/>
              </a:buClr>
            </a:pPr>
            <a:r>
              <a:rPr lang="en-US" sz="1333" dirty="0">
                <a:solidFill>
                  <a:srgbClr val="FFFFFF"/>
                </a:solidFill>
                <a:latin typeface="Rubik"/>
              </a:rPr>
              <a:t>Rapid </a:t>
            </a:r>
            <a:br>
              <a:rPr lang="en-US" sz="1333" dirty="0">
                <a:solidFill>
                  <a:srgbClr val="011F3D"/>
                </a:solidFill>
                <a:latin typeface="Rubik"/>
              </a:rPr>
            </a:br>
            <a:r>
              <a:rPr lang="en-US" sz="1333" dirty="0">
                <a:solidFill>
                  <a:srgbClr val="FFFFFF"/>
                </a:solidFill>
                <a:latin typeface="Rubik"/>
              </a:rPr>
              <a:t>Workflow Development</a:t>
            </a:r>
          </a:p>
        </p:txBody>
      </p:sp>
      <p:pic>
        <p:nvPicPr>
          <p:cNvPr id="43" name="Grafik 17">
            <a:extLst>
              <a:ext uri="{FF2B5EF4-FFF2-40B4-BE49-F238E27FC236}">
                <a16:creationId xmlns:a16="http://schemas.microsoft.com/office/drawing/2014/main" id="{0E5987E1-6211-C645-BA89-581C297555B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0049" y="4194182"/>
            <a:ext cx="633049" cy="633049"/>
          </a:xfrm>
          <a:prstGeom prst="rect">
            <a:avLst/>
          </a:prstGeom>
        </p:spPr>
      </p:pic>
      <p:pic>
        <p:nvPicPr>
          <p:cNvPr id="46" name="Grafik 408">
            <a:extLst>
              <a:ext uri="{FF2B5EF4-FFF2-40B4-BE49-F238E27FC236}">
                <a16:creationId xmlns:a16="http://schemas.microsoft.com/office/drawing/2014/main" id="{8D462878-EC9C-D440-8FDF-54E70D8B0AE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2375" y="2336418"/>
            <a:ext cx="644269" cy="67566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55E5C0E-F0AA-6B45-8F31-686455C92C46}"/>
              </a:ext>
            </a:extLst>
          </p:cNvPr>
          <p:cNvSpPr/>
          <p:nvPr/>
        </p:nvSpPr>
        <p:spPr>
          <a:xfrm>
            <a:off x="3200373" y="2925841"/>
            <a:ext cx="4287692" cy="233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spcBef>
                <a:spcPts val="400"/>
              </a:spcBef>
            </a:pPr>
            <a:endParaRPr lang="en-US" sz="1867" b="1">
              <a:solidFill>
                <a:srgbClr val="FFFFFF"/>
              </a:solidFill>
              <a:latin typeface="Rubik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8A20331-A841-0F4B-BB3C-A98A4526672B}"/>
              </a:ext>
            </a:extLst>
          </p:cNvPr>
          <p:cNvGrpSpPr/>
          <p:nvPr/>
        </p:nvGrpSpPr>
        <p:grpSpPr>
          <a:xfrm>
            <a:off x="1312646" y="2468412"/>
            <a:ext cx="746708" cy="415037"/>
            <a:chOff x="2408084" y="1524658"/>
            <a:chExt cx="1111615" cy="482561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1F554958-FD5D-B249-9627-85B50ED2327C}"/>
                </a:ext>
              </a:extLst>
            </p:cNvPr>
            <p:cNvSpPr/>
            <p:nvPr/>
          </p:nvSpPr>
          <p:spPr>
            <a:xfrm>
              <a:off x="2408084" y="1711793"/>
              <a:ext cx="88917" cy="88917"/>
            </a:xfrm>
            <a:prstGeom prst="ellipse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</a:pPr>
              <a:endParaRPr lang="en-US" sz="1867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0E82CE9-69E7-C448-870F-4994CAF31BFE}"/>
                </a:ext>
              </a:extLst>
            </p:cNvPr>
            <p:cNvSpPr/>
            <p:nvPr/>
          </p:nvSpPr>
          <p:spPr>
            <a:xfrm>
              <a:off x="2553366" y="1699084"/>
              <a:ext cx="209590" cy="114336"/>
            </a:xfrm>
            <a:prstGeom prst="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</a:pPr>
              <a:endParaRPr lang="en-US" sz="1867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DC48EBC-4A16-7A4E-A956-14922CC222D1}"/>
                </a:ext>
              </a:extLst>
            </p:cNvPr>
            <p:cNvSpPr/>
            <p:nvPr/>
          </p:nvSpPr>
          <p:spPr>
            <a:xfrm>
              <a:off x="2552480" y="1524658"/>
              <a:ext cx="209590" cy="114336"/>
            </a:xfrm>
            <a:prstGeom prst="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</a:pPr>
              <a:endParaRPr lang="en-US" sz="1867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9BC3D08-1AD9-F743-B1AC-7378D2C7887F}"/>
                </a:ext>
              </a:extLst>
            </p:cNvPr>
            <p:cNvSpPr/>
            <p:nvPr/>
          </p:nvSpPr>
          <p:spPr>
            <a:xfrm>
              <a:off x="3005177" y="1699084"/>
              <a:ext cx="209590" cy="114336"/>
            </a:xfrm>
            <a:prstGeom prst="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</a:pPr>
              <a:endParaRPr lang="en-US" sz="1867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1E3BCB7-A4E4-1A4F-AE9C-E51471C65C00}"/>
                </a:ext>
              </a:extLst>
            </p:cNvPr>
            <p:cNvSpPr/>
            <p:nvPr/>
          </p:nvSpPr>
          <p:spPr>
            <a:xfrm>
              <a:off x="2785701" y="1892883"/>
              <a:ext cx="209590" cy="114336"/>
            </a:xfrm>
            <a:prstGeom prst="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</a:pPr>
              <a:endParaRPr lang="en-US" sz="1867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D705AE3F-564F-124F-ABC0-28DD15C4A3AD}"/>
                </a:ext>
              </a:extLst>
            </p:cNvPr>
            <p:cNvSpPr/>
            <p:nvPr/>
          </p:nvSpPr>
          <p:spPr>
            <a:xfrm>
              <a:off x="3430782" y="1711793"/>
              <a:ext cx="88917" cy="88917"/>
            </a:xfrm>
            <a:prstGeom prst="ellipse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</a:pPr>
              <a:endParaRPr lang="en-US" sz="1867" b="1">
                <a:solidFill>
                  <a:srgbClr val="FFFFFF"/>
                </a:solidFill>
                <a:latin typeface="Rubik"/>
              </a:endParaRPr>
            </a:p>
          </p:txBody>
        </p:sp>
        <p:sp>
          <p:nvSpPr>
            <p:cNvPr id="36" name="Diamond 35">
              <a:extLst>
                <a:ext uri="{FF2B5EF4-FFF2-40B4-BE49-F238E27FC236}">
                  <a16:creationId xmlns:a16="http://schemas.microsoft.com/office/drawing/2014/main" id="{8B1D5ABA-4088-E64E-AD44-2C3260BD9061}"/>
                </a:ext>
              </a:extLst>
            </p:cNvPr>
            <p:cNvSpPr/>
            <p:nvPr/>
          </p:nvSpPr>
          <p:spPr>
            <a:xfrm>
              <a:off x="2835235" y="1700991"/>
              <a:ext cx="110522" cy="110522"/>
            </a:xfrm>
            <a:prstGeom prst="diamond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</a:pPr>
              <a:endParaRPr lang="en-US" sz="1867" b="1">
                <a:solidFill>
                  <a:srgbClr val="FFFFFF"/>
                </a:solidFill>
                <a:latin typeface="Rubik"/>
              </a:endParaRPr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1B2F242C-0170-D64E-8E82-215005D5337E}"/>
                </a:ext>
              </a:extLst>
            </p:cNvPr>
            <p:cNvCxnSpPr/>
            <p:nvPr/>
          </p:nvCxnSpPr>
          <p:spPr>
            <a:xfrm>
              <a:off x="2486682" y="1756252"/>
              <a:ext cx="66684" cy="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E21F1B2A-9812-AD4D-A951-2E360DFA7E59}"/>
                </a:ext>
              </a:extLst>
            </p:cNvPr>
            <p:cNvCxnSpPr>
              <a:endCxn id="36" idx="1"/>
            </p:cNvCxnSpPr>
            <p:nvPr/>
          </p:nvCxnSpPr>
          <p:spPr>
            <a:xfrm flipV="1">
              <a:off x="2762956" y="1756252"/>
              <a:ext cx="72279" cy="1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A2FFFCDC-286F-B34B-B6F6-D9E63576F68B}"/>
                </a:ext>
              </a:extLst>
            </p:cNvPr>
            <p:cNvCxnSpPr>
              <a:stCxn id="36" idx="3"/>
            </p:cNvCxnSpPr>
            <p:nvPr/>
          </p:nvCxnSpPr>
          <p:spPr>
            <a:xfrm>
              <a:off x="2945757" y="1756252"/>
              <a:ext cx="66300" cy="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D1727EE2-F6C2-684B-BE69-9C64377379E5}"/>
                </a:ext>
              </a:extLst>
            </p:cNvPr>
            <p:cNvCxnSpPr>
              <a:stCxn id="30" idx="3"/>
              <a:endCxn id="52" idx="1"/>
            </p:cNvCxnSpPr>
            <p:nvPr/>
          </p:nvCxnSpPr>
          <p:spPr>
            <a:xfrm flipV="1">
              <a:off x="3214767" y="1756252"/>
              <a:ext cx="48342" cy="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C5769B3A-8664-2840-85C8-D2629B7F15EE}"/>
                </a:ext>
              </a:extLst>
            </p:cNvPr>
            <p:cNvCxnSpPr>
              <a:stCxn id="36" idx="2"/>
              <a:endCxn id="34" idx="0"/>
            </p:cNvCxnSpPr>
            <p:nvPr/>
          </p:nvCxnSpPr>
          <p:spPr>
            <a:xfrm>
              <a:off x="2890496" y="1811513"/>
              <a:ext cx="0" cy="8137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Elbow Connector 49">
              <a:extLst>
                <a:ext uri="{FF2B5EF4-FFF2-40B4-BE49-F238E27FC236}">
                  <a16:creationId xmlns:a16="http://schemas.microsoft.com/office/drawing/2014/main" id="{E7F83BC3-0983-F643-96C2-0AE6151DB56B}"/>
                </a:ext>
              </a:extLst>
            </p:cNvPr>
            <p:cNvCxnSpPr>
              <a:stCxn id="34" idx="3"/>
              <a:endCxn id="52" idx="2"/>
            </p:cNvCxnSpPr>
            <p:nvPr/>
          </p:nvCxnSpPr>
          <p:spPr>
            <a:xfrm flipV="1">
              <a:off x="2995291" y="1811513"/>
              <a:ext cx="323079" cy="138538"/>
            </a:xfrm>
            <a:prstGeom prst="bentConnector2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924E031F-07FE-3E4B-B822-5CB3FFC1CDC7}"/>
                </a:ext>
              </a:extLst>
            </p:cNvPr>
            <p:cNvCxnSpPr>
              <a:stCxn id="28" idx="0"/>
              <a:endCxn id="29" idx="2"/>
            </p:cNvCxnSpPr>
            <p:nvPr/>
          </p:nvCxnSpPr>
          <p:spPr>
            <a:xfrm flipH="1" flipV="1">
              <a:off x="2657275" y="1638994"/>
              <a:ext cx="886" cy="6009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Diamond 51">
              <a:extLst>
                <a:ext uri="{FF2B5EF4-FFF2-40B4-BE49-F238E27FC236}">
                  <a16:creationId xmlns:a16="http://schemas.microsoft.com/office/drawing/2014/main" id="{FDD0B5AD-C316-CD46-A870-18B98ABE0B55}"/>
                </a:ext>
              </a:extLst>
            </p:cNvPr>
            <p:cNvSpPr/>
            <p:nvPr/>
          </p:nvSpPr>
          <p:spPr>
            <a:xfrm>
              <a:off x="3263109" y="1700991"/>
              <a:ext cx="110522" cy="110522"/>
            </a:xfrm>
            <a:prstGeom prst="diamond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400"/>
                </a:spcBef>
              </a:pPr>
              <a:endParaRPr lang="en-US" sz="1867" b="1">
                <a:solidFill>
                  <a:srgbClr val="FFFFFF"/>
                </a:solidFill>
                <a:latin typeface="Rubik"/>
              </a:endParaRP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8ACDA463-384E-9545-9414-E68AF29BB190}"/>
                </a:ext>
              </a:extLst>
            </p:cNvPr>
            <p:cNvCxnSpPr>
              <a:stCxn id="52" idx="3"/>
            </p:cNvCxnSpPr>
            <p:nvPr/>
          </p:nvCxnSpPr>
          <p:spPr>
            <a:xfrm>
              <a:off x="3373631" y="1756252"/>
              <a:ext cx="67470" cy="0"/>
            </a:xfrm>
            <a:prstGeom prst="line">
              <a:avLst/>
            </a:pr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4" name="Picture 5">
            <a:extLst>
              <a:ext uri="{FF2B5EF4-FFF2-40B4-BE49-F238E27FC236}">
                <a16:creationId xmlns:a16="http://schemas.microsoft.com/office/drawing/2014/main" id="{D29959CA-3209-D743-819C-503D419EA4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00372" y="2029441"/>
            <a:ext cx="5791256" cy="3623217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4">
            <a:extLst>
              <a:ext uri="{FF2B5EF4-FFF2-40B4-BE49-F238E27FC236}">
                <a16:creationId xmlns:a16="http://schemas.microsoft.com/office/drawing/2014/main" id="{DC7B20BB-30C5-C34B-AEA1-EF9F2449C1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00373" y="2983341"/>
            <a:ext cx="4287692" cy="1942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3647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3ACD776-945A-11DE-08FF-19B9DBF8A88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0BFAED9-DF52-35BD-41F0-942BBF41A8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</p:spPr>
        <p:txBody>
          <a:bodyPr/>
          <a:lstStyle/>
          <a:p>
            <a:r>
              <a:rPr lang="en-DE" dirty="0"/>
              <a:t>DevOp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B1EDEC-C674-E27D-3347-05FB21F4EA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6E88BB-07B3-49F7-4248-39DE0B7746C0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F98C41-745E-AAE3-E78F-8F386DD61856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55831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quirement &amp; Benefits</a:t>
            </a:r>
            <a:br>
              <a:rPr lang="en-GB" dirty="0"/>
            </a:br>
            <a:br>
              <a:rPr lang="en-GB" dirty="0"/>
            </a:b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4B2554-60FE-A205-BE38-184219D7327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>
            <a:lvl1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1pPr>
            <a:lvl2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2pPr>
            <a:lvl3pPr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</a:lvl3pPr>
            <a:lvl4pPr>
              <a:buClr>
                <a:schemeClr val="tx1"/>
              </a:buClr>
              <a:buFont typeface="Symbol" panose="05050102010706020507" pitchFamily="18" charset="2"/>
              <a:buChar char=""/>
            </a:lvl4pPr>
            <a:lvl5pPr>
              <a:buSzPct val="100000"/>
              <a:buFont typeface="Segoe UI" panose="020B0502040204020203" pitchFamily="34" charset="0"/>
              <a:buChar char="•"/>
            </a:lvl5pPr>
            <a:lvl6pPr>
              <a:buFont typeface="+mj-lt"/>
              <a:buAutoNum type="arabicPeriod"/>
            </a:lvl6pPr>
          </a:lstStyle>
          <a:p>
            <a:pPr>
              <a:buNone/>
            </a:pPr>
            <a:endParaRPr lang="en-GB" b="0" i="0" dirty="0">
              <a:solidFill>
                <a:srgbClr val="202124"/>
              </a:solidFill>
              <a:effectLst/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Faster release rate, hence faster “to Market”</a:t>
            </a:r>
          </a:p>
          <a:p>
            <a:pPr>
              <a:buNone/>
            </a:pPr>
            <a:endParaRPr lang="en-GB" b="0" i="0" dirty="0">
              <a:solidFill>
                <a:srgbClr val="202124"/>
              </a:solidFill>
              <a:effectLst/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Fault Isol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Faster Mean Time To Resolutions (MTT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Test Repeatability and Reli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0" i="0" dirty="0">
              <a:solidFill>
                <a:srgbClr val="202124"/>
              </a:solidFill>
              <a:effectLst/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Greater visibility into system outcomes</a:t>
            </a:r>
          </a:p>
          <a:p>
            <a:pPr>
              <a:buNone/>
            </a:pPr>
            <a:endParaRPr lang="en-GB" dirty="0"/>
          </a:p>
          <a:p>
            <a:pPr>
              <a:buNone/>
            </a:pPr>
            <a:endParaRPr lang="en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4100" name="Picture 4" descr="DevOps Automation | DevOps Automation Services &amp; Consulting">
            <a:extLst>
              <a:ext uri="{FF2B5EF4-FFF2-40B4-BE49-F238E27FC236}">
                <a16:creationId xmlns:a16="http://schemas.microsoft.com/office/drawing/2014/main" id="{282F98E3-3821-7DE2-2619-338E1966E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3958" y="2181860"/>
            <a:ext cx="4452172" cy="2767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05464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xt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>
                <a:effectLst/>
                <a:latin typeface="Helvetica Neue" panose="02000503000000020004" pitchFamily="2" charset="0"/>
              </a:rPr>
              <a:t>Context &amp; Background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977CD440-3F0A-CDB8-0599-5480C014F925}"/>
              </a:ext>
            </a:extLst>
          </p:cNvPr>
          <p:cNvSpPr txBox="1">
            <a:spLocks/>
          </p:cNvSpPr>
          <p:nvPr/>
        </p:nvSpPr>
        <p:spPr>
          <a:xfrm>
            <a:off x="265917" y="1184378"/>
            <a:ext cx="5830083" cy="4966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itchFamily="2" charset="2"/>
              <a:buChar char="Ø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Flexible Development Process</a:t>
            </a:r>
          </a:p>
          <a:p>
            <a:pPr lvl="1">
              <a:buNone/>
            </a:pPr>
            <a:endParaRPr lang="en-GB" b="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ode Quality Check </a:t>
            </a:r>
          </a:p>
          <a:p>
            <a:pPr marL="577350" lvl="2" indent="-285750">
              <a:buFont typeface="Wingdings" pitchFamily="2" charset="2"/>
              <a:buChar char="Ø"/>
            </a:pPr>
            <a:r>
              <a:rPr lang="en-GB" b="0" dirty="0">
                <a:solidFill>
                  <a:srgbClr val="202124"/>
                </a:solidFill>
                <a:latin typeface="arial" panose="020B0604020202020204" pitchFamily="34" charset="0"/>
              </a:rPr>
              <a:t>Automated 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T</a:t>
            </a:r>
            <a:r>
              <a:rPr lang="en-GB" b="0" dirty="0">
                <a:solidFill>
                  <a:srgbClr val="202124"/>
                </a:solidFill>
                <a:latin typeface="arial" panose="020B0604020202020204" pitchFamily="34" charset="0"/>
              </a:rPr>
              <a:t>esting</a:t>
            </a:r>
          </a:p>
          <a:p>
            <a:pPr marL="577350" lvl="2" indent="-285750">
              <a:buFont typeface="Wingdings" pitchFamily="2" charset="2"/>
              <a:buChar char="Ø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lvl="1" indent="-285750">
              <a:buFont typeface="Wingdings" pitchFamily="2" charset="2"/>
              <a:buChar char="Ø"/>
            </a:pPr>
            <a:r>
              <a:rPr lang="en-GB" b="0" dirty="0">
                <a:solidFill>
                  <a:srgbClr val="202124"/>
                </a:solidFill>
                <a:latin typeface="arial" panose="020B0604020202020204" pitchFamily="34" charset="0"/>
              </a:rPr>
              <a:t>Delivery / Promotion Automation</a:t>
            </a: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lvl="1" indent="-285750">
              <a:buFont typeface="Wingdings" pitchFamily="2" charset="2"/>
              <a:buChar char="Ø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285750" lvl="1" indent="-285750">
              <a:buFont typeface="Wingdings" pitchFamily="2" charset="2"/>
              <a:buChar char="Ø"/>
            </a:pPr>
            <a:r>
              <a:rPr lang="en-GB" b="0" dirty="0">
                <a:solidFill>
                  <a:srgbClr val="202124"/>
                </a:solidFill>
                <a:latin typeface="arial" panose="020B0604020202020204" pitchFamily="34" charset="0"/>
              </a:rPr>
              <a:t>Repeatability</a:t>
            </a: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  <a:p>
            <a:pPr>
              <a:buFont typeface="Segoe UI" panose="020B0502040204020203" pitchFamily="34" charset="0"/>
              <a:buNone/>
            </a:pPr>
            <a:r>
              <a:rPr lang="en-DE" dirty="0"/>
              <a:t> 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E3E360F5-98B8-5F15-8454-AF352BFC08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0336" y="894490"/>
            <a:ext cx="6773330" cy="4450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80271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xt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680896"/>
            <a:ext cx="11468100" cy="290513"/>
          </a:xfrm>
        </p:spPr>
        <p:txBody>
          <a:bodyPr/>
          <a:lstStyle/>
          <a:p>
            <a:r>
              <a:rPr lang="en-GB" dirty="0">
                <a:effectLst/>
                <a:latin typeface="Helvetica Neue" panose="02000503000000020004" pitchFamily="2" charset="0"/>
              </a:rPr>
              <a:t>Platform &amp; Tool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9F6FB3-FC86-F24E-A7DF-112BABCCA960}"/>
              </a:ext>
            </a:extLst>
          </p:cNvPr>
          <p:cNvSpPr txBox="1"/>
          <p:nvPr/>
        </p:nvSpPr>
        <p:spPr>
          <a:xfrm>
            <a:off x="7452986" y="3275556"/>
            <a:ext cx="0" cy="0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DE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CE38906-36C2-3684-0EBA-23CB4736FE62}"/>
              </a:ext>
            </a:extLst>
          </p:cNvPr>
          <p:cNvSpPr txBox="1">
            <a:spLocks/>
          </p:cNvSpPr>
          <p:nvPr/>
        </p:nvSpPr>
        <p:spPr>
          <a:xfrm>
            <a:off x="265917" y="1184378"/>
            <a:ext cx="5830083" cy="4966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b="1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125000"/>
              <a:buFont typeface="Segoe UI" panose="020B0502040204020203" pitchFamily="34" charset="0"/>
              <a:buChar char="▪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"/>
              <a:defRPr sz="16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00000"/>
              <a:buFont typeface="Segoe UI" panose="020B0502040204020203" pitchFamily="34" charset="0"/>
              <a:buChar char="•"/>
              <a:defRPr sz="14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Below are the assumptions made for further discus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4 Environments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Play/Build, Dev, QA and Pr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utomation / Orchestration platform</a:t>
            </a:r>
          </a:p>
          <a:p>
            <a:pPr marL="868950" lvl="3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Azure DevOp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b="0" dirty="0">
                <a:solidFill>
                  <a:srgbClr val="202124"/>
                </a:solidFill>
                <a:latin typeface="arial" panose="020B0604020202020204" pitchFamily="34" charset="0"/>
              </a:rPr>
              <a:t>Test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en-GB" b="0" dirty="0">
                <a:solidFill>
                  <a:srgbClr val="202124"/>
                </a:solidFill>
                <a:latin typeface="arial" panose="020B0604020202020204" pitchFamily="34" charset="0"/>
              </a:rPr>
              <a:t>Automation</a:t>
            </a:r>
          </a:p>
          <a:p>
            <a:pPr marL="577350" lvl="2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Postman / Newman / Azure Test Plan</a:t>
            </a:r>
            <a:endParaRPr lang="en-GB" b="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868950" lvl="3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577350" lvl="2" indent="-285750">
              <a:buFont typeface="Courier New" panose="02070309020205020404" pitchFamily="49" charset="0"/>
              <a:buChar char="o"/>
            </a:pP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>
              <a:buFont typeface="Segoe UI" panose="020B0502040204020203" pitchFamily="34" charset="0"/>
              <a:buNone/>
            </a:pPr>
            <a:endParaRPr lang="en-DE" dirty="0"/>
          </a:p>
          <a:p>
            <a:pPr>
              <a:buFont typeface="Segoe UI" panose="020B0502040204020203" pitchFamily="34" charset="0"/>
              <a:buNone/>
            </a:pPr>
            <a:r>
              <a:rPr lang="en-DE" dirty="0"/>
              <a:t> 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90C1C0B2-51E9-6537-E0F2-49379346B0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0149" y="1684786"/>
            <a:ext cx="6879537" cy="3488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997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81AB8-312C-D040-96F8-4BF2E04D9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ase Overview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62645-821E-C94D-ABB8-DB42F5268A9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GB" dirty="0"/>
              <a:t>GIT Workflow</a:t>
            </a:r>
            <a:endParaRPr lang="en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A989EC-5F1B-2E31-15BC-33DC35E110B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© 2023 Software AG. All rights reserved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043F2-2704-2070-5DD8-98CC10E5572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496B3F7-6D34-7F11-D368-58D1098B7D9A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DE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3D0A223F-8FD9-CE68-ABAE-FEE79A926F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489" y="1387801"/>
            <a:ext cx="12032511" cy="3733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833F2AA-8F8E-60DC-6992-BAC0B3D1ED28}"/>
              </a:ext>
            </a:extLst>
          </p:cNvPr>
          <p:cNvSpPr txBox="1"/>
          <p:nvPr/>
        </p:nvSpPr>
        <p:spPr>
          <a:xfrm>
            <a:off x="361200" y="5338686"/>
            <a:ext cx="12032511" cy="1160198"/>
          </a:xfrm>
          <a:prstGeom prst="rect">
            <a:avLst/>
          </a:prstGeom>
          <a:ln w="28575">
            <a:noFill/>
          </a:ln>
        </p:spPr>
        <p:txBody>
          <a:bodyPr vert="horz" wrap="non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r>
              <a:rPr lang="en-DE" b="1" dirty="0"/>
              <a:t>Note</a:t>
            </a:r>
            <a:r>
              <a:rPr lang="en-DE" dirty="0"/>
              <a:t>: </a:t>
            </a:r>
            <a:r>
              <a:rPr lang="en-DE" i="1" dirty="0"/>
              <a:t>This is just a sample model used by one of the customer where the solution was primarily developed. This </a:t>
            </a:r>
          </a:p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r>
              <a:rPr lang="en-DE" i="1" dirty="0"/>
              <a:t>framework can be adopted to any Git Workflow used by customer as per their needs. We are not promoting any specific</a:t>
            </a:r>
          </a:p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r>
              <a:rPr lang="en-DE" i="1" dirty="0"/>
              <a:t> model.</a:t>
            </a:r>
          </a:p>
        </p:txBody>
      </p:sp>
    </p:spTree>
    <p:extLst>
      <p:ext uri="{BB962C8B-B14F-4D97-AF65-F5344CB8AC3E}">
        <p14:creationId xmlns:p14="http://schemas.microsoft.com/office/powerpoint/2010/main" val="16671419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IAAAAAAAAAAwAAAAMAAAAA/////wQAGw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x06s4TYyvBPgOPDifRBx2gFAAAAAAADAAAAAAADAAAAAwADAAAAAAD///////8DAAAAAAD///////8DAAAAAAD///////8DAAAAAAD///////8DAAEA////////BAAAAAMAEAALPY26yFjSA0iGBKJwQmD3og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B06s4TYyvBPgOPDifRBx2gDRGF0YQAbAAAABExpbmtlZFNoYXBlRGF0YQAFAAAAAAACTmFtZQAZAAAATGlua2VkU2hhcGVzRGF0YVByb3BlcnR5ABBWZXJzaW9uAAAAAAAJTGFzdFdyaXRlAF8AnJSAAQAAAAEA/////8YAxgAAAAVfaWQAEAAAAAQ9jbrIWNIDSIYEonBCYPeiA0RhdGEAUwAAAAhQcmVzZW50YXRpb25TY2FubmVkRm9yTGlua2VkU2hhcGVzAAECTnVtYmVyRm9ybWF0U2VwYXJhdG9yTW9kZQAKAAAAQXV0b21hdGljAAACTmFtZQAkAAAATGlua2VkU2hhcGVQcmVzZW50YXRpb25TZXR0aW5nc0RhdGEAEFZlcnNpb24AAAAAAAlMYXN0V3JpdGUAmQCcl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e746a57e-2a84-4a0c-ae3d-5e0e53a112c1"/>
  <p:tag name="MIO_UPDATE" val="True"/>
  <p:tag name="MIO_DBID" val="0F45B44C-9BC7-4D85-81C4-7155EE70A7B9"/>
  <p:tag name="MIO_OBJECTNAME" val="Software AG - Starter Set"/>
  <p:tag name="MIO_FALLBACK_LAYOUT" val="5"/>
  <p:tag name="MIO_SHOW_DATE" val="False"/>
  <p:tag name="MIO_SHOW_FOOTER" val="True"/>
  <p:tag name="MIO_SHOW_PAGENUMBER" val="True"/>
  <p:tag name="MIO_AVOID_BLANK_LAYOUT" val="False"/>
  <p:tag name="MIO_CD_LAYOUT_VALID_AREA" val="False"/>
  <p:tag name="MIO_EMBED_FONT" val="False"/>
  <p:tag name="MIO_MATCH_COLOR_SCHEME" val="True"/>
  <p:tag name="MIO_NUMBER_OF_VALID_LAYOUTS" val="16"/>
  <p:tag name="MIO_VERSION" val="24.06.2022 08:54:10"/>
  <p:tag name="MIO_LASTDOWNLOADED" val="11.07.2022 17:11:14.637"/>
  <p:tag name="MIO_CDID" val="9f882b0b-d1b4-48cb-bfe5-c5c56132e96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SSEDALLCHECKS" val="false"/>
  <p:tag name="SLIDEISALIGNED" val="fals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4447198-7953-4c78-ae98-8d695a13acff"/>
  <p:tag name="MIO_GUID" val="7ca84544-7eda-4eec-82c5-8cec7cd8967a"/>
  <p:tag name="MIO_UPDATE" val="True"/>
  <p:tag name="MIO_VERSION" val="16.02.2021 15:34:37"/>
  <p:tag name="MIO_DBID" val="0F45B44C-9BC7-4D85-81C4-7155EE70A7B9"/>
  <p:tag name="MIO_LASTDOWNLOADED" val="08.03.2022 14:30:15.453"/>
  <p:tag name="MIO_OBJECTNAME" val="Pulse-1"/>
  <p:tag name="MIO_LASTEDITORNAME" val="Luke Johns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26.36221"/>
  <p:tag name="LEFT" val="0"/>
  <p:tag name="WIDTH" val="359.9999"/>
  <p:tag name="HEIGHT" val="283.0909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256.6286"/>
  <p:tag name="LEFT" val="17.11047"/>
  <p:tag name="WIDTH" val="317.4803"/>
  <p:tag name="HEIGHT" val="10.90543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f1410df4-8ff8-4214-ad36-13c46f254289"/>
</p:tagLst>
</file>

<file path=ppt/theme/theme1.xml><?xml version="1.0" encoding="utf-8"?>
<a:theme xmlns:a="http://schemas.openxmlformats.org/drawingml/2006/main" name="Software AG 2022">
  <a:themeElements>
    <a:clrScheme name="Software AG 2022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2">
      <a:majorFont>
        <a:latin typeface="Segoe UI"/>
        <a:ea typeface="Segoe UI"/>
        <a:cs typeface="Segoe UI"/>
      </a:majorFont>
      <a:minorFont>
        <a:latin typeface="Segoe UI"/>
        <a:ea typeface="Segoe UI"/>
        <a:cs typeface="Segoe UI"/>
      </a:minorFont>
    </a:fontScheme>
    <a:fmtScheme name="Software AG 2022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2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E6E9EC"/>
    </a:custClr>
    <a:custClr name="SAG45">
      <a:srgbClr val="F5EEFE"/>
    </a:custClr>
    <a:custClr name="SAG46">
      <a:srgbClr val="ECF9F8"/>
    </a:custClr>
    <a:custClr name="SAG47">
      <a:srgbClr val="FBFDE9"/>
    </a:custClr>
    <a:custClr name="SAG48">
      <a:srgbClr val="EBEAEF"/>
    </a:custClr>
    <a:custClr name="SAG49">
      <a:srgbClr val="E8EEF0"/>
    </a:custClr>
    <a:custClr name="SAG50">
      <a:srgbClr val="FCE9EE"/>
    </a:custClr>
  </a:custClrLst>
  <a:extLst>
    <a:ext uri="{05A4C25C-085E-4340-85A3-A5531E510DB2}">
      <thm15:themeFamily xmlns:thm15="http://schemas.microsoft.com/office/thememl/2012/main" name="SAG" id="{81A187F2-36E6-4147-B20D-BEB810E4824E}" vid="{670117A1-D6D8-AC43-BED2-B18680E6502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xt_Lookup xmlns="f4b6a92c-e295-4600-9d7a-80c091dfc4e0" xsi:nil="true"/>
    <TaxCatchAll xmlns="2e105430-be12-4d74-b623-8c0ee648e992" xsi:nil="true"/>
    <lcf76f155ced4ddcb4097134ff3c332f xmlns="f4b6a92c-e295-4600-9d7a-80c091dfc4e0">
      <Terms xmlns="http://schemas.microsoft.com/office/infopath/2007/PartnerControls"/>
    </lcf76f155ced4ddcb4097134ff3c332f>
    <TaxKeywordTaxHTField xmlns="2e105430-be12-4d74-b623-8c0ee648e992">
      <Terms xmlns="http://schemas.microsoft.com/office/infopath/2007/PartnerControls"/>
    </TaxKeywordTaxHTField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6A5F8EBBB9094588BD53A186E8CCF3" ma:contentTypeVersion="14" ma:contentTypeDescription="Create a new document." ma:contentTypeScope="" ma:versionID="eb84e1674edad55411b186f9ce15ff75">
  <xsd:schema xmlns:xsd="http://www.w3.org/2001/XMLSchema" xmlns:xs="http://www.w3.org/2001/XMLSchema" xmlns:p="http://schemas.microsoft.com/office/2006/metadata/properties" xmlns:ns2="f4b6a92c-e295-4600-9d7a-80c091dfc4e0" xmlns:ns3="2e105430-be12-4d74-b623-8c0ee648e992" targetNamespace="http://schemas.microsoft.com/office/2006/metadata/properties" ma:root="true" ma:fieldsID="6be5e95c49a6f621cbf4008c7b78073b" ns2:_="" ns3:_="">
    <xsd:import namespace="f4b6a92c-e295-4600-9d7a-80c091dfc4e0"/>
    <xsd:import namespace="2e105430-be12-4d74-b623-8c0ee648e9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Text_Lookup" minOccurs="0"/>
                <xsd:element ref="ns3:TaxKeywordTaxHTField" minOccurs="0"/>
                <xsd:element ref="ns3:TaxCatchAll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b6a92c-e295-4600-9d7a-80c091dfc4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Text_Lookup" ma:index="10" nillable="true" ma:displayName="Text_Lookup" ma:format="Dropdown" ma:list="b30e51fb-f3fb-406e-ab15-1609749abe80" ma:internalName="Text_Lookup" ma:showField="Title">
      <xsd:simpleType>
        <xsd:restriction base="dms:Lookup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c46c2a7b-827f-4770-b8d7-723d5daf04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105430-be12-4d74-b623-8c0ee648e992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2" nillable="true" ma:taxonomy="true" ma:internalName="TaxKeywordTaxHTField" ma:taxonomyFieldName="TaxKeyword" ma:displayName="Enterprise Keywords" ma:fieldId="{23f27201-bee3-471e-b2e7-b64fd8b7ca38}" ma:taxonomyMulti="true" ma:sspId="c46c2a7b-827f-4770-b8d7-723d5daf04a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3" nillable="true" ma:displayName="Taxonomy Catch All Column" ma:hidden="true" ma:list="{ee8a5a97-3d30-4cc9-b4c2-b4104f574a74}" ma:internalName="TaxCatchAll" ma:showField="CatchAllData" ma:web="2e105430-be12-4d74-b623-8c0ee648e9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88F4BA1-82F4-4573-BC6D-9427A9494968}">
  <ds:schemaRefs>
    <ds:schemaRef ds:uri="2e105430-be12-4d74-b623-8c0ee648e992"/>
    <ds:schemaRef ds:uri="f4b6a92c-e295-4600-9d7a-80c091dfc4e0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28F007CB-4AC2-49F9-9F11-A3AE5E7EF1BA}">
  <ds:schemaRefs>
    <ds:schemaRef ds:uri="2e105430-be12-4d74-b623-8c0ee648e992"/>
    <ds:schemaRef ds:uri="f4b6a92c-e295-4600-9d7a-80c091dfc4e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379AD00-36D3-4A36-A440-1B8967C7A833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ee9ddd37-01c2-47a1-893c-5c0bdc1f6d39}" enabled="1" method="Privileged" siteId="{d9662eb9-ad98-4e74-a8a2-04ed5d544db6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Software AG 2022</Template>
  <TotalTime>27806</TotalTime>
  <Words>1633</Words>
  <Application>Microsoft Macintosh PowerPoint</Application>
  <PresentationFormat>Widescreen</PresentationFormat>
  <Paragraphs>332</Paragraphs>
  <Slides>24</Slides>
  <Notes>20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5" baseType="lpstr">
      <vt:lpstr>Arial</vt:lpstr>
      <vt:lpstr>Arial</vt:lpstr>
      <vt:lpstr>Calibri</vt:lpstr>
      <vt:lpstr>Courier New</vt:lpstr>
      <vt:lpstr>Helvetica Neue</vt:lpstr>
      <vt:lpstr>Inter</vt:lpstr>
      <vt:lpstr>Rubik</vt:lpstr>
      <vt:lpstr>Segoe UI</vt:lpstr>
      <vt:lpstr>Symbol</vt:lpstr>
      <vt:lpstr>Wingdings</vt:lpstr>
      <vt:lpstr>Software AG 2022</vt:lpstr>
      <vt:lpstr>DevOps 4 webMethods.io Integration</vt:lpstr>
      <vt:lpstr>DevOps 4 webMethods.io</vt:lpstr>
      <vt:lpstr>webMethods.io iPaaS</vt:lpstr>
      <vt:lpstr>webMethods.io Integration</vt:lpstr>
      <vt:lpstr>DevOps</vt:lpstr>
      <vt:lpstr>Requirement &amp; Benefits  </vt:lpstr>
      <vt:lpstr>Context</vt:lpstr>
      <vt:lpstr>Context</vt:lpstr>
      <vt:lpstr>Use case Overview</vt:lpstr>
      <vt:lpstr>Use case Overview</vt:lpstr>
      <vt:lpstr>Use case Overview</vt:lpstr>
      <vt:lpstr>Use case Overview</vt:lpstr>
      <vt:lpstr>Use case Overview</vt:lpstr>
      <vt:lpstr>Use case Overview</vt:lpstr>
      <vt:lpstr>Use case Overview</vt:lpstr>
      <vt:lpstr>Use case Overview</vt:lpstr>
      <vt:lpstr>Show &amp; Tell / Demo</vt:lpstr>
      <vt:lpstr>Demo</vt:lpstr>
      <vt:lpstr>Demo</vt:lpstr>
      <vt:lpstr>What Next</vt:lpstr>
      <vt:lpstr>Next Steps</vt:lpstr>
      <vt:lpstr>Next Steps</vt:lpstr>
      <vt:lpstr>Referenc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Ops 4 webMethods.io</dc:title>
  <dc:creator>Sabapathy, Srinivasan</dc:creator>
  <cp:lastModifiedBy>Sabapathy, Srinivasan</cp:lastModifiedBy>
  <cp:revision>47</cp:revision>
  <dcterms:created xsi:type="dcterms:W3CDTF">2023-02-04T12:12:00Z</dcterms:created>
  <dcterms:modified xsi:type="dcterms:W3CDTF">2024-02-20T07:44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HeaderText">
    <vt:lpwstr>Classification: Internalㅤㅤㅤㅤ</vt:lpwstr>
  </property>
  <property fmtid="{D5CDD505-2E9C-101B-9397-08002B2CF9AE}" pid="3" name="TaxKeyword">
    <vt:lpwstr/>
  </property>
  <property fmtid="{D5CDD505-2E9C-101B-9397-08002B2CF9AE}" pid="4" name="ContentTypeId">
    <vt:lpwstr>0x010100C76A5F8EBBB9094588BD53A186E8CCF3</vt:lpwstr>
  </property>
</Properties>
</file>